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9" r:id="rId1"/>
    <p:sldMasterId id="2147483692" r:id="rId2"/>
    <p:sldMasterId id="2147483738" r:id="rId3"/>
    <p:sldMasterId id="2147483748" r:id="rId4"/>
  </p:sldMasterIdLst>
  <p:notesMasterIdLst>
    <p:notesMasterId r:id="rId16"/>
  </p:notesMasterIdLst>
  <p:handoutMasterIdLst>
    <p:handoutMasterId r:id="rId17"/>
  </p:handoutMasterIdLst>
  <p:sldIdLst>
    <p:sldId id="266" r:id="rId5"/>
    <p:sldId id="268" r:id="rId6"/>
    <p:sldId id="2341" r:id="rId7"/>
    <p:sldId id="2344" r:id="rId8"/>
    <p:sldId id="377" r:id="rId9"/>
    <p:sldId id="2345" r:id="rId10"/>
    <p:sldId id="2353" r:id="rId11"/>
    <p:sldId id="2327" r:id="rId12"/>
    <p:sldId id="2348" r:id="rId13"/>
    <p:sldId id="2362" r:id="rId14"/>
    <p:sldId id="2364" r:id="rId15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el Edel" initials="JE" lastIdx="1" clrIdx="0">
    <p:extLst>
      <p:ext uri="{19B8F6BF-5375-455C-9EA6-DF929625EA0E}">
        <p15:presenceInfo xmlns:p15="http://schemas.microsoft.com/office/powerpoint/2012/main" userId="S::joeledel@sunsetstrategicbrands.com::357e5eea-2f46-450b-93ba-de9bbd8680f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B18E"/>
    <a:srgbClr val="0B5539"/>
    <a:srgbClr val="0F4530"/>
    <a:srgbClr val="55BA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23" autoAdjust="0"/>
    <p:restoredTop sz="96357" autoAdjust="0"/>
  </p:normalViewPr>
  <p:slideViewPr>
    <p:cSldViewPr snapToGrid="0" snapToObjects="1">
      <p:cViewPr varScale="1">
        <p:scale>
          <a:sx n="94" d="100"/>
          <a:sy n="94" d="100"/>
        </p:scale>
        <p:origin x="390" y="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4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op 'Better-For-You' Brand Productivity</a:t>
            </a:r>
            <a:r>
              <a:rPr lang="en-US" baseline="0"/>
              <a:t> ($/TDP) by Channel Last 24 Weeks Ending 12/27/2020 </a:t>
            </a:r>
            <a:r>
              <a:rPr lang="en-US"/>
              <a:t> 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3!$B$2</c:f>
              <c:strCache>
                <c:ptCount val="1"/>
                <c:pt idx="0">
                  <c:v>US FOOD 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3!$A$3:$A$8</c:f>
              <c:strCache>
                <c:ptCount val="6"/>
                <c:pt idx="0">
                  <c:v>Pamela's</c:v>
                </c:pt>
                <c:pt idx="1">
                  <c:v>Kodiak Cakes</c:v>
                </c:pt>
                <c:pt idx="2">
                  <c:v>Birch Benders</c:v>
                </c:pt>
                <c:pt idx="3">
                  <c:v>Bob's Red Mill</c:v>
                </c:pt>
                <c:pt idx="4">
                  <c:v>King Arthur</c:v>
                </c:pt>
                <c:pt idx="5">
                  <c:v>Arrowhead Mills </c:v>
                </c:pt>
              </c:strCache>
            </c:strRef>
          </c:cat>
          <c:val>
            <c:numRef>
              <c:f>Sheet3!$B$3:$B$8</c:f>
              <c:numCache>
                <c:formatCode>_("$"* #,##0_);_("$"* \(#,##0\);_("$"* "-"??_);_(@_)</c:formatCode>
                <c:ptCount val="6"/>
                <c:pt idx="0">
                  <c:v>39623</c:v>
                </c:pt>
                <c:pt idx="1">
                  <c:v>34018</c:v>
                </c:pt>
                <c:pt idx="2">
                  <c:v>26144</c:v>
                </c:pt>
                <c:pt idx="3">
                  <c:v>18386</c:v>
                </c:pt>
                <c:pt idx="4">
                  <c:v>33744</c:v>
                </c:pt>
                <c:pt idx="5">
                  <c:v>336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3C-4BC3-95DA-1F943B25DD4C}"/>
            </c:ext>
          </c:extLst>
        </c:ser>
        <c:ser>
          <c:idx val="1"/>
          <c:order val="1"/>
          <c:tx>
            <c:strRef>
              <c:f>Sheet3!$C$2</c:f>
              <c:strCache>
                <c:ptCount val="1"/>
                <c:pt idx="0">
                  <c:v>Natural Channel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3!$A$3:$A$8</c:f>
              <c:strCache>
                <c:ptCount val="6"/>
                <c:pt idx="0">
                  <c:v>Pamela's</c:v>
                </c:pt>
                <c:pt idx="1">
                  <c:v>Kodiak Cakes</c:v>
                </c:pt>
                <c:pt idx="2">
                  <c:v>Birch Benders</c:v>
                </c:pt>
                <c:pt idx="3">
                  <c:v>Bob's Red Mill</c:v>
                </c:pt>
                <c:pt idx="4">
                  <c:v>King Arthur</c:v>
                </c:pt>
                <c:pt idx="5">
                  <c:v>Arrowhead Mills </c:v>
                </c:pt>
              </c:strCache>
            </c:strRef>
          </c:cat>
          <c:val>
            <c:numRef>
              <c:f>Sheet3!$C$3:$C$8</c:f>
              <c:numCache>
                <c:formatCode>_("$"* #,##0_);_("$"* \(#,##0\);_("$"* "-"??_);_(@_)</c:formatCode>
                <c:ptCount val="6"/>
                <c:pt idx="0">
                  <c:v>10307</c:v>
                </c:pt>
                <c:pt idx="1">
                  <c:v>3238</c:v>
                </c:pt>
                <c:pt idx="2">
                  <c:v>4417</c:v>
                </c:pt>
                <c:pt idx="3">
                  <c:v>3323</c:v>
                </c:pt>
                <c:pt idx="4">
                  <c:v>5154</c:v>
                </c:pt>
                <c:pt idx="5">
                  <c:v>44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A3C-4BC3-95DA-1F943B25DD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989154160"/>
        <c:axId val="989157440"/>
      </c:barChart>
      <c:catAx>
        <c:axId val="989154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89157440"/>
        <c:crosses val="autoZero"/>
        <c:auto val="1"/>
        <c:lblAlgn val="ctr"/>
        <c:lblOffset val="100"/>
        <c:noMultiLvlLbl val="0"/>
      </c:catAx>
      <c:valAx>
        <c:axId val="9891574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&quot;$&quot;* #,##0_);_(&quot;$&quot;* \(#,##0\);_(&quot;$&quot;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891541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4553E8-2B48-6047-B620-8F651A5EC9DB}" type="datetimeFigureOut">
              <a:rPr lang="en-US" smtClean="0"/>
              <a:t>8/5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F0332E-E967-7A4D-BCB6-69E1D96978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62566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8D4C94-3309-45E1-8B50-8E7DAF28C016}" type="datetimeFigureOut">
              <a:rPr lang="en-US" smtClean="0"/>
              <a:t>8/5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48B192-634C-442D-BF72-E6A708F165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06996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g5f0ecc6b74_12_4:notes"/>
          <p:cNvSpPr txBox="1">
            <a:spLocks noGrp="1"/>
          </p:cNvSpPr>
          <p:nvPr>
            <p:ph type="body" idx="1"/>
          </p:nvPr>
        </p:nvSpPr>
        <p:spPr>
          <a:xfrm>
            <a:off x="685800" y="4400551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9450" tIns="89450" rIns="89450" bIns="8945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6" name="Google Shape;216;g5f0ecc6b74_12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6428569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224074-E0E0-4427-A5DB-6DF65A3212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8306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hyperlink" Target="http://wiki.target.com/tgtwiki/images/5/57/Bullseye.bmp" TargetMode="External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.xml"/><Relationship Id="rId6" Type="http://schemas.openxmlformats.org/officeDocument/2006/relationships/hyperlink" Target="http://wiki.target.com/tgtwiki/images/5/57/Bullseye.bmp" TargetMode="Externa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262EC7-E2E9-487F-A0E1-CC8526F4BA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49BA046-300C-45A5-B6C4-A3E5E298FE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68152C-8326-4B80-A41D-D2830263D6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C6A9B1-B1D1-4926-A71F-A73267731450}" type="datetimeFigureOut">
              <a:rPr lang="en-US" smtClean="0"/>
              <a:t>8/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93CEEC-DF24-48FC-8FE8-F503C04ED9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84CDD8-0269-423C-A62E-34C1D3BFB5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2772AE-A3C0-4F0C-89AF-87D9EA5D15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7902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Google Shape;169;p30"/>
          <p:cNvSpPr txBox="1">
            <a:spLocks noGrp="1"/>
          </p:cNvSpPr>
          <p:nvPr>
            <p:ph type="title"/>
          </p:nvPr>
        </p:nvSpPr>
        <p:spPr>
          <a:xfrm>
            <a:off x="394241" y="382384"/>
            <a:ext cx="8446515" cy="6317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 b="1" i="0" u="none" strike="noStrike" cap="none">
                <a:solidFill>
                  <a:srgbClr val="2EB18E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170" name="Google Shape;170;p30"/>
          <p:cNvSpPr txBox="1">
            <a:spLocks noGrp="1"/>
          </p:cNvSpPr>
          <p:nvPr>
            <p:ph type="body" idx="1"/>
          </p:nvPr>
        </p:nvSpPr>
        <p:spPr>
          <a:xfrm>
            <a:off x="628650" y="1434517"/>
            <a:ext cx="7886700" cy="474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11150" marR="0" lvl="0" indent="-28575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rgbClr val="2EB18E"/>
              </a:buClr>
              <a:buSzPct val="100000"/>
              <a:buFont typeface="Arial" panose="020B0604020202020204" pitchFamily="34" charset="0"/>
              <a:buChar char="•"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71" name="Google Shape;171;p30"/>
          <p:cNvSpPr txBox="1">
            <a:spLocks noGrp="1"/>
          </p:cNvSpPr>
          <p:nvPr>
            <p:ph type="sldNum" idx="12"/>
          </p:nvPr>
        </p:nvSpPr>
        <p:spPr>
          <a:xfrm>
            <a:off x="-152397" y="6458422"/>
            <a:ext cx="7191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cxnSp>
        <p:nvCxnSpPr>
          <p:cNvPr id="5" name="Google Shape;584;p82">
            <a:extLst>
              <a:ext uri="{FF2B5EF4-FFF2-40B4-BE49-F238E27FC236}">
                <a16:creationId xmlns:a16="http://schemas.microsoft.com/office/drawing/2014/main" id="{F0EEA876-168C-4782-BFF7-3972BA09F79F}"/>
              </a:ext>
            </a:extLst>
          </p:cNvPr>
          <p:cNvCxnSpPr/>
          <p:nvPr userDrawn="1"/>
        </p:nvCxnSpPr>
        <p:spPr>
          <a:xfrm>
            <a:off x="394242" y="1080329"/>
            <a:ext cx="8244900" cy="0"/>
          </a:xfrm>
          <a:prstGeom prst="straightConnector1">
            <a:avLst/>
          </a:prstGeom>
          <a:noFill/>
          <a:ln w="38100" cap="flat" cmpd="sng">
            <a:solidFill>
              <a:srgbClr val="2EB18E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3093511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Product P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55452" y="273050"/>
            <a:ext cx="296345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/>
              <a:t>Product Name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08682" y="273050"/>
            <a:ext cx="4278118" cy="5853113"/>
          </a:xfrm>
        </p:spPr>
        <p:txBody>
          <a:bodyPr/>
          <a:lstStyle>
            <a:lvl1pPr marL="0" indent="0">
              <a:buNone/>
              <a:defRPr sz="3200" baseline="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Product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1228418" y="1474272"/>
            <a:ext cx="2963452" cy="3859728"/>
          </a:xfrm>
        </p:spPr>
        <p:txBody>
          <a:bodyPr/>
          <a:lstStyle>
            <a:lvl1pPr marL="285750" marR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D7D31"/>
              </a:buClr>
              <a:buSzTx/>
              <a:buFont typeface="Wingdings" panose="05000000000000000000" pitchFamily="2" charset="2"/>
              <a:buChar char="§"/>
              <a:tabLst/>
              <a:defRPr sz="1400" b="1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Attributes</a:t>
            </a:r>
          </a:p>
          <a:p>
            <a:pPr lvl="0"/>
            <a:r>
              <a:rPr lang="en-US" dirty="0"/>
              <a:t>Attributes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C386E-018F-C145-B754-8F5EF6EE0F5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301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262EC7-E2E9-487F-A0E1-CC8526F4BA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49BA046-300C-45A5-B6C4-A3E5E298FE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68152C-8326-4B80-A41D-D2830263D6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C6A9B1-B1D1-4926-A71F-A73267731450}" type="datetimeFigureOut">
              <a:rPr lang="en-US" smtClean="0"/>
              <a:t>8/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93CEEC-DF24-48FC-8FE8-F503C04ED9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84CDD8-0269-423C-A62E-34C1D3BFB5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2772AE-A3C0-4F0C-89AF-87D9EA5D15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3873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90600" y="2432387"/>
            <a:ext cx="7848600" cy="1453819"/>
          </a:xfrm>
        </p:spPr>
        <p:txBody>
          <a:bodyPr anchor="b">
            <a:normAutofit/>
          </a:bodyPr>
          <a:lstStyle>
            <a:lvl1pPr algn="r">
              <a:defRPr sz="1575" b="1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90602" y="3880512"/>
            <a:ext cx="7848601" cy="767688"/>
          </a:xfrm>
        </p:spPr>
        <p:txBody>
          <a:bodyPr anchor="b">
            <a:normAutofit/>
          </a:bodyPr>
          <a:lstStyle>
            <a:lvl1pPr marL="0" indent="0" algn="r">
              <a:buNone/>
              <a:defRPr sz="1125">
                <a:solidFill>
                  <a:schemeClr val="tx1">
                    <a:tint val="75000"/>
                  </a:schemeClr>
                </a:solidFill>
              </a:defRPr>
            </a:lvl1pPr>
            <a:lvl2pPr marL="2571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14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71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85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43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800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988485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04772" y="228600"/>
            <a:ext cx="8174210" cy="6096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1575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304800" y="914400"/>
            <a:ext cx="8610600" cy="5181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29400" y="641668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7013CDE5-58DF-46A3-9665-33FB3751C6F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7" name="Picture 6" descr="File:Bullseye.bmp">
            <a:hlinkClick r:id="rId2"/>
          </p:cNvPr>
          <p:cNvPicPr>
            <a:picLocks noChangeAspect="1" noChangeArrowheads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3385" y="150207"/>
            <a:ext cx="645303" cy="76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563464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6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6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629400" y="6416681"/>
            <a:ext cx="2133600" cy="365125"/>
          </a:xfrm>
          <a:prstGeom prst="rect">
            <a:avLst/>
          </a:prstGeom>
        </p:spPr>
        <p:txBody>
          <a:bodyPr/>
          <a:lstStyle/>
          <a:p>
            <a:fld id="{3995198B-8B0E-44F6-86BC-241261AD3A5D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77754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_no text box -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 flipH="1">
            <a:off x="473076" y="1092200"/>
            <a:ext cx="8135938" cy="0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79648" y="251778"/>
            <a:ext cx="8229600" cy="1143000"/>
          </a:xfrm>
        </p:spPr>
        <p:txBody>
          <a:bodyPr>
            <a:normAutofit/>
          </a:bodyPr>
          <a:lstStyle>
            <a:lvl1pPr>
              <a:defRPr sz="140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 smtClean="0">
                <a:solidFill>
                  <a:srgbClr val="828282"/>
                </a:solidFill>
              </a:defRPr>
            </a:lvl1pPr>
          </a:lstStyle>
          <a:p>
            <a:pPr>
              <a:defRPr/>
            </a:pPr>
            <a:fld id="{866BD4C9-5F79-4CF8-9BF3-2297621F8AB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92475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l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3065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Main Page Primar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7" progId="TCLayout.ActiveDocument.1">
                  <p:embed/>
                </p:oleObj>
              </mc:Choice>
              <mc:Fallback>
                <p:oleObj name="think-cell Slide" r:id="rId3" imgW="406" imgH="407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00" y="6159507"/>
            <a:ext cx="8940800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File:Bullseye.bmp">
            <a:hlinkClick r:id="rId6"/>
          </p:cNvPr>
          <p:cNvPicPr>
            <a:picLocks noChangeAspect="1" noChangeArrowheads="1"/>
          </p:cNvPicPr>
          <p:nvPr userDrawn="1"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567" y="127000"/>
            <a:ext cx="930333" cy="1104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CE250A9-CDDB-4705-A6BE-9873303F99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9134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2F4279-9D5B-6941-B842-F1C6BC17A6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1300" y="1349118"/>
            <a:ext cx="6048828" cy="590594"/>
          </a:xfrm>
        </p:spPr>
        <p:txBody>
          <a:bodyPr>
            <a:normAutofit/>
          </a:bodyPr>
          <a:lstStyle>
            <a:lvl1pPr>
              <a:defRPr sz="1800" b="1" spc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4CA758-4D6B-5E4D-B437-198C220F21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11300" y="2146853"/>
            <a:ext cx="6048828" cy="336203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0AA01E2C-0249-2541-9569-999BDEEE97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9236" y="6313207"/>
            <a:ext cx="3086100" cy="365125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sz="600" spc="225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|  COOLHAUS</a:t>
            </a:r>
          </a:p>
        </p:txBody>
      </p:sp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C5C09010-F3BF-D540-B01C-F21646E170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60715" y="6313207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bg2"/>
                </a:solidFill>
              </a:defRPr>
            </a:lvl1pPr>
          </a:lstStyle>
          <a:p>
            <a:fld id="{2CE9DA49-9A19-F144-BB01-61143E12D8D5}" type="slidenum">
              <a:rPr lang="en-US" smtClean="0"/>
              <a:pPr/>
              <a:t>‹#›</a:t>
            </a:fld>
            <a:r>
              <a:rPr lang="en-US" dirty="0"/>
              <a:t>  |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9AA8A2C-0A16-E34A-8052-21FF2DEF71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60715" y="0"/>
            <a:ext cx="2347895" cy="72043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2198681-AB3E-E841-821B-5CB07BF3EE90}"/>
              </a:ext>
            </a:extLst>
          </p:cNvPr>
          <p:cNvSpPr/>
          <p:nvPr userDrawn="1"/>
        </p:nvSpPr>
        <p:spPr>
          <a:xfrm>
            <a:off x="1511301" y="6313206"/>
            <a:ext cx="6048828" cy="54479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</p:spTree>
    <p:extLst>
      <p:ext uri="{BB962C8B-B14F-4D97-AF65-F5344CB8AC3E}">
        <p14:creationId xmlns:p14="http://schemas.microsoft.com/office/powerpoint/2010/main" val="18484326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152397" y="6458422"/>
            <a:ext cx="719222" cy="365125"/>
          </a:xfrm>
          <a:prstGeom prst="rect">
            <a:avLst/>
          </a:prstGeom>
          <a:ln>
            <a:noFill/>
          </a:ln>
        </p:spPr>
        <p:txBody>
          <a:bodyPr/>
          <a:lstStyle>
            <a:lvl1pPr algn="r">
              <a:defRPr sz="1000">
                <a:solidFill>
                  <a:srgbClr val="BFBFBF"/>
                </a:solidFill>
              </a:defRPr>
            </a:lvl1pPr>
          </a:lstStyle>
          <a:p>
            <a:fld id="{96225B6E-D1E7-E846-980D-22E9B7CA94B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7225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5A5354BE-8F9B-4E44-BD0B-BFFCB67D55D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5AEE8F-BC13-5F4C-A2B2-0BDD2EA543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676544"/>
            <a:ext cx="6858000" cy="1551564"/>
          </a:xfrm>
        </p:spPr>
        <p:txBody>
          <a:bodyPr anchor="b">
            <a:normAutofit/>
          </a:bodyPr>
          <a:lstStyle>
            <a:lvl1pPr algn="ctr">
              <a:defRPr sz="3300" spc="225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C9C66860-F3B3-0A4D-BA9B-9A6D8C8BBE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9236" y="6313207"/>
            <a:ext cx="3086100" cy="365125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sz="600" spc="225">
                <a:solidFill>
                  <a:schemeClr val="bg2"/>
                </a:solidFill>
              </a:defRPr>
            </a:lvl1pPr>
          </a:lstStyle>
          <a:p>
            <a:r>
              <a:rPr lang="en-US"/>
              <a:t>|  COOLHAUS</a:t>
            </a:r>
            <a:endParaRPr lang="en-US" dirty="0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C74AA013-F77D-0246-9E93-8EFF21505C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60715" y="6313207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bg2"/>
                </a:solidFill>
              </a:defRPr>
            </a:lvl1pPr>
          </a:lstStyle>
          <a:p>
            <a:fld id="{2CE9DA49-9A19-F144-BB01-61143E12D8D5}" type="slidenum">
              <a:rPr lang="en-US" smtClean="0"/>
              <a:pPr/>
              <a:t>‹#›</a:t>
            </a:fld>
            <a:r>
              <a:rPr lang="en-US" dirty="0"/>
              <a:t>  |</a:t>
            </a:r>
          </a:p>
        </p:txBody>
      </p:sp>
    </p:spTree>
    <p:extLst>
      <p:ext uri="{BB962C8B-B14F-4D97-AF65-F5344CB8AC3E}">
        <p14:creationId xmlns:p14="http://schemas.microsoft.com/office/powerpoint/2010/main" val="22725328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6F3505"/>
          </a:solidFill>
        </p:spPr>
        <p:txBody>
          <a:bodyPr anchor="ctr">
            <a:normAutofit/>
          </a:bodyPr>
          <a:lstStyle>
            <a:lvl1pPr>
              <a:defRPr sz="3200" b="1">
                <a:solidFill>
                  <a:schemeClr val="bg1"/>
                </a:solidFill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197269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29600" y="6553200"/>
            <a:ext cx="914400" cy="304800"/>
          </a:xfrm>
          <a:prstGeom prst="rect">
            <a:avLst/>
          </a:prstGeom>
        </p:spPr>
        <p:txBody>
          <a:bodyPr anchor="ctr"/>
          <a:lstStyle>
            <a:lvl1pPr algn="r"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83EDDF39-FDB9-4147-9B62-A7A84CE84BB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96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/>
          <a:lstStyle/>
          <a:p>
            <a:fld id="{83EDDF39-FDB9-4147-9B62-A7A84CE84B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6928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/>
          <a:lstStyle/>
          <a:p>
            <a:fld id="{83EDDF39-FDB9-4147-9B62-A7A84CE84B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168738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/>
          <a:lstStyle/>
          <a:p>
            <a:fld id="{83EDDF39-FDB9-4147-9B62-A7A84CE84B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3642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/>
          <a:lstStyle/>
          <a:p>
            <a:fld id="{83EDDF39-FDB9-4147-9B62-A7A84CE84B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598328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/>
          <a:lstStyle/>
          <a:p>
            <a:fld id="{83EDDF39-FDB9-4147-9B62-A7A84CE84B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5929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 1">
  <p:cSld name="Title and Content 1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7"/>
          <p:cNvSpPr txBox="1">
            <a:spLocks noGrp="1"/>
          </p:cNvSpPr>
          <p:nvPr>
            <p:ph type="body" idx="1"/>
          </p:nvPr>
        </p:nvSpPr>
        <p:spPr>
          <a:xfrm>
            <a:off x="394250" y="1434525"/>
            <a:ext cx="8331600" cy="474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064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ct val="125000"/>
              <a:buChar char="●"/>
              <a:defRPr sz="1600">
                <a:latin typeface="Gill Sans"/>
                <a:ea typeface="Gill Sans"/>
                <a:cs typeface="Gill Sans"/>
                <a:sym typeface="Gill Sans"/>
              </a:defRPr>
            </a:lvl1pPr>
            <a:lvl2pPr marL="914400" lvl="1" indent="-3810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ct val="125000"/>
              <a:buChar char="○"/>
              <a:defRPr>
                <a:latin typeface="Gill Sans"/>
                <a:ea typeface="Gill Sans"/>
                <a:cs typeface="Gill Sans"/>
                <a:sym typeface="Gill Sans"/>
              </a:defRPr>
            </a:lvl2pPr>
            <a:lvl3pPr marL="1371600" lvl="2" indent="-355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ct val="125000"/>
              <a:buFont typeface="Wingdings" panose="05000000000000000000" pitchFamily="2" charset="2"/>
              <a:buChar char="§"/>
              <a:defRPr>
                <a:latin typeface="Gill Sans"/>
                <a:ea typeface="Gill Sans"/>
                <a:cs typeface="Gill Sans"/>
                <a:sym typeface="Gill Sans"/>
              </a:defRPr>
            </a:lvl3pPr>
            <a:lvl4pPr marL="1828800" lvl="3" indent="-3429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>
                <a:latin typeface="Gill Sans"/>
                <a:ea typeface="Gill Sans"/>
                <a:cs typeface="Gill Sans"/>
                <a:sym typeface="Gill Sans"/>
              </a:defRPr>
            </a:lvl4pPr>
            <a:lvl5pPr marL="2286000" lvl="4" indent="-3429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>
                <a:latin typeface="Gill Sans"/>
                <a:ea typeface="Gill Sans"/>
                <a:cs typeface="Gill Sans"/>
                <a:sym typeface="Gill Sans"/>
              </a:defRPr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9pPr>
          </a:lstStyle>
          <a:p>
            <a:endParaRPr lang="en-US" dirty="0"/>
          </a:p>
          <a:p>
            <a:pPr lvl="1"/>
            <a:endParaRPr lang="en-US" dirty="0"/>
          </a:p>
          <a:p>
            <a:pPr lvl="2"/>
            <a:endParaRPr dirty="0"/>
          </a:p>
        </p:txBody>
      </p:sp>
      <p:sp>
        <p:nvSpPr>
          <p:cNvPr id="40" name="Google Shape;40;p7"/>
          <p:cNvSpPr/>
          <p:nvPr/>
        </p:nvSpPr>
        <p:spPr>
          <a:xfrm>
            <a:off x="488742" y="459207"/>
            <a:ext cx="7840200" cy="5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4000" b="1">
              <a:solidFill>
                <a:srgbClr val="2EB18E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" name="Google Shape;41;p7"/>
          <p:cNvSpPr txBox="1">
            <a:spLocks noGrp="1"/>
          </p:cNvSpPr>
          <p:nvPr>
            <p:ph type="sldNum" idx="12"/>
          </p:nvPr>
        </p:nvSpPr>
        <p:spPr>
          <a:xfrm>
            <a:off x="8237965" y="186608"/>
            <a:ext cx="7191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cxnSp>
        <p:nvCxnSpPr>
          <p:cNvPr id="42" name="Google Shape;42;p7"/>
          <p:cNvCxnSpPr/>
          <p:nvPr/>
        </p:nvCxnSpPr>
        <p:spPr>
          <a:xfrm>
            <a:off x="8693640" y="467032"/>
            <a:ext cx="219900" cy="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3" name="Google Shape;43;p7"/>
          <p:cNvCxnSpPr/>
          <p:nvPr/>
        </p:nvCxnSpPr>
        <p:spPr>
          <a:xfrm>
            <a:off x="394242" y="1080329"/>
            <a:ext cx="8331600" cy="0"/>
          </a:xfrm>
          <a:prstGeom prst="straightConnector1">
            <a:avLst/>
          </a:prstGeom>
          <a:noFill/>
          <a:ln w="9525" cap="flat" cmpd="sng">
            <a:solidFill>
              <a:srgbClr val="0B5539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798090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Google Shape;169;p30"/>
          <p:cNvSpPr txBox="1">
            <a:spLocks noGrp="1"/>
          </p:cNvSpPr>
          <p:nvPr>
            <p:ph type="title"/>
          </p:nvPr>
        </p:nvSpPr>
        <p:spPr>
          <a:xfrm>
            <a:off x="394241" y="382384"/>
            <a:ext cx="8446515" cy="6317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 b="1" i="0" u="none" strike="noStrike" cap="none">
                <a:solidFill>
                  <a:srgbClr val="2EB18E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170" name="Google Shape;170;p30"/>
          <p:cNvSpPr txBox="1">
            <a:spLocks noGrp="1"/>
          </p:cNvSpPr>
          <p:nvPr>
            <p:ph type="body" idx="1"/>
          </p:nvPr>
        </p:nvSpPr>
        <p:spPr>
          <a:xfrm>
            <a:off x="628650" y="1434517"/>
            <a:ext cx="7886700" cy="474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11150" marR="0" lvl="0" indent="-28575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rgbClr val="2EB18E"/>
              </a:buClr>
              <a:buSzPct val="100000"/>
              <a:buFont typeface="Arial" panose="020B0604020202020204" pitchFamily="34" charset="0"/>
              <a:buChar char="•"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71" name="Google Shape;171;p30"/>
          <p:cNvSpPr txBox="1">
            <a:spLocks noGrp="1"/>
          </p:cNvSpPr>
          <p:nvPr>
            <p:ph type="sldNum" idx="12"/>
          </p:nvPr>
        </p:nvSpPr>
        <p:spPr>
          <a:xfrm>
            <a:off x="-152397" y="6458422"/>
            <a:ext cx="7191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cxnSp>
        <p:nvCxnSpPr>
          <p:cNvPr id="5" name="Google Shape;584;p82">
            <a:extLst>
              <a:ext uri="{FF2B5EF4-FFF2-40B4-BE49-F238E27FC236}">
                <a16:creationId xmlns:a16="http://schemas.microsoft.com/office/drawing/2014/main" id="{F0EEA876-168C-4782-BFF7-3972BA09F79F}"/>
              </a:ext>
            </a:extLst>
          </p:cNvPr>
          <p:cNvCxnSpPr/>
          <p:nvPr userDrawn="1"/>
        </p:nvCxnSpPr>
        <p:spPr>
          <a:xfrm>
            <a:off x="394242" y="1080329"/>
            <a:ext cx="8244900" cy="0"/>
          </a:xfrm>
          <a:prstGeom prst="straightConnector1">
            <a:avLst/>
          </a:prstGeom>
          <a:noFill/>
          <a:ln w="38100" cap="flat" cmpd="sng">
            <a:solidFill>
              <a:srgbClr val="2EB18E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2470486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8237965" y="186608"/>
            <a:ext cx="719222" cy="365125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rgbClr val="BFBFBF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6225B6E-D1E7-E846-980D-22E9B7CA94B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53755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8237965" y="186608"/>
            <a:ext cx="719222" cy="365125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rgbClr val="BFBFBF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6225B6E-D1E7-E846-980D-22E9B7CA94B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53755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967145"/>
            <a:ext cx="7886700" cy="2852737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3910" y="6609029"/>
            <a:ext cx="9144000" cy="237229"/>
          </a:xfrm>
          <a:prstGeom prst="rect">
            <a:avLst/>
          </a:prstGeom>
          <a:solidFill>
            <a:srgbClr val="5848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-9038" y="-846"/>
            <a:ext cx="9159903" cy="237229"/>
          </a:xfrm>
          <a:prstGeom prst="rect">
            <a:avLst/>
          </a:prstGeom>
          <a:solidFill>
            <a:srgbClr val="5848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-9039" y="6010062"/>
            <a:ext cx="9153039" cy="628011"/>
            <a:chOff x="135802" y="5618880"/>
            <a:chExt cx="9144000" cy="628011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9889"/>
            <a:stretch/>
          </p:blipFill>
          <p:spPr>
            <a:xfrm>
              <a:off x="135802" y="5618880"/>
              <a:ext cx="9144000" cy="628011"/>
            </a:xfrm>
            <a:prstGeom prst="rect">
              <a:avLst/>
            </a:prstGeom>
          </p:spPr>
        </p:pic>
        <p:sp>
          <p:nvSpPr>
            <p:cNvPr id="11" name="Rectangle 10"/>
            <p:cNvSpPr/>
            <p:nvPr/>
          </p:nvSpPr>
          <p:spPr>
            <a:xfrm>
              <a:off x="135802" y="5673982"/>
              <a:ext cx="9144000" cy="572909"/>
            </a:xfrm>
            <a:prstGeom prst="rect">
              <a:avLst/>
            </a:prstGeom>
            <a:solidFill>
              <a:srgbClr val="01A98E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12" name="Group 11"/>
          <p:cNvGrpSpPr/>
          <p:nvPr userDrawn="1"/>
        </p:nvGrpSpPr>
        <p:grpSpPr>
          <a:xfrm>
            <a:off x="-9038" y="169144"/>
            <a:ext cx="9153038" cy="628011"/>
            <a:chOff x="135802" y="5618880"/>
            <a:chExt cx="9144000" cy="628011"/>
          </a:xfrm>
        </p:grpSpPr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9889"/>
            <a:stretch/>
          </p:blipFill>
          <p:spPr>
            <a:xfrm>
              <a:off x="135802" y="5618880"/>
              <a:ext cx="9144000" cy="628011"/>
            </a:xfrm>
            <a:prstGeom prst="rect">
              <a:avLst/>
            </a:prstGeom>
          </p:spPr>
        </p:pic>
        <p:sp>
          <p:nvSpPr>
            <p:cNvPr id="14" name="Rectangle 13"/>
            <p:cNvSpPr/>
            <p:nvPr/>
          </p:nvSpPr>
          <p:spPr>
            <a:xfrm>
              <a:off x="135802" y="5673982"/>
              <a:ext cx="9144000" cy="572909"/>
            </a:xfrm>
            <a:prstGeom prst="rect">
              <a:avLst/>
            </a:prstGeom>
            <a:solidFill>
              <a:srgbClr val="01A98E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54719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82690" y="5873306"/>
            <a:ext cx="2057400" cy="365125"/>
          </a:xfrm>
        </p:spPr>
        <p:txBody>
          <a:bodyPr/>
          <a:lstStyle/>
          <a:p>
            <a:fld id="{4595B84B-B1C8-4BE3-87C5-69F460EF7AF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-3910" y="6609029"/>
            <a:ext cx="9144000" cy="237229"/>
          </a:xfrm>
          <a:prstGeom prst="rect">
            <a:avLst/>
          </a:prstGeom>
          <a:solidFill>
            <a:srgbClr val="5848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-9039" y="6334432"/>
            <a:ext cx="9158168" cy="314006"/>
            <a:chOff x="-9039" y="6334432"/>
            <a:chExt cx="9158168" cy="314006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46869" b="1"/>
            <a:stretch/>
          </p:blipFill>
          <p:spPr>
            <a:xfrm>
              <a:off x="-9039" y="6334432"/>
              <a:ext cx="9153039" cy="303641"/>
            </a:xfrm>
            <a:prstGeom prst="rect">
              <a:avLst/>
            </a:prstGeom>
          </p:spPr>
        </p:pic>
        <p:sp>
          <p:nvSpPr>
            <p:cNvPr id="12" name="Rectangle 11"/>
            <p:cNvSpPr/>
            <p:nvPr/>
          </p:nvSpPr>
          <p:spPr>
            <a:xfrm>
              <a:off x="-3910" y="6361964"/>
              <a:ext cx="9153039" cy="286474"/>
            </a:xfrm>
            <a:prstGeom prst="rect">
              <a:avLst/>
            </a:prstGeom>
            <a:solidFill>
              <a:srgbClr val="01A98E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62707265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1">
  <p:cSld name="Section Header 1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8"/>
          <p:cNvSpPr txBox="1">
            <a:spLocks noGrp="1"/>
          </p:cNvSpPr>
          <p:nvPr>
            <p:ph type="title"/>
          </p:nvPr>
        </p:nvSpPr>
        <p:spPr>
          <a:xfrm>
            <a:off x="623887" y="967144"/>
            <a:ext cx="7886700" cy="285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1A98E"/>
              </a:buClr>
              <a:buSzPts val="1400"/>
              <a:buFont typeface="Cabin"/>
              <a:buNone/>
              <a:defRPr sz="4050" b="0" i="0" u="none" strike="noStrike" cap="none">
                <a:solidFill>
                  <a:srgbClr val="01A98E"/>
                </a:solidFill>
                <a:latin typeface="Cabin"/>
                <a:ea typeface="Cabin"/>
                <a:cs typeface="Cabin"/>
                <a:sym typeface="Cabin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350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350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350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350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350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350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350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350"/>
            </a:lvl9pPr>
          </a:lstStyle>
          <a:p>
            <a:endParaRPr/>
          </a:p>
        </p:txBody>
      </p:sp>
      <p:sp>
        <p:nvSpPr>
          <p:cNvPr id="46" name="Google Shape;46;p8"/>
          <p:cNvSpPr txBox="1">
            <a:spLocks noGrp="1"/>
          </p:cNvSpPr>
          <p:nvPr>
            <p:ph type="body" idx="1"/>
          </p:nvPr>
        </p:nvSpPr>
        <p:spPr>
          <a:xfrm>
            <a:off x="394250" y="4589475"/>
            <a:ext cx="81162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400"/>
              <a:buFont typeface="Arial"/>
              <a:buNone/>
              <a:defRPr sz="15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400"/>
              <a:buFont typeface="Arial"/>
              <a:buNone/>
              <a:defRPr sz="135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7" name="Google Shape;47;p8"/>
          <p:cNvSpPr txBox="1">
            <a:spLocks noGrp="1"/>
          </p:cNvSpPr>
          <p:nvPr>
            <p:ph type="sldNum" idx="12"/>
          </p:nvPr>
        </p:nvSpPr>
        <p:spPr>
          <a:xfrm>
            <a:off x="8237965" y="186608"/>
            <a:ext cx="7191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BFBFB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cxnSp>
        <p:nvCxnSpPr>
          <p:cNvPr id="48" name="Google Shape;48;p8"/>
          <p:cNvCxnSpPr/>
          <p:nvPr/>
        </p:nvCxnSpPr>
        <p:spPr>
          <a:xfrm>
            <a:off x="8693640" y="467032"/>
            <a:ext cx="219900" cy="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9" name="Google Shape;49;p8"/>
          <p:cNvCxnSpPr/>
          <p:nvPr/>
        </p:nvCxnSpPr>
        <p:spPr>
          <a:xfrm>
            <a:off x="394242" y="1080329"/>
            <a:ext cx="8331600" cy="0"/>
          </a:xfrm>
          <a:prstGeom prst="straightConnector1">
            <a:avLst/>
          </a:prstGeom>
          <a:noFill/>
          <a:ln w="9525" cap="flat" cmpd="sng">
            <a:solidFill>
              <a:srgbClr val="0B5539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4121853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8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011.png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1" r="2830" b="4481"/>
          <a:stretch/>
        </p:blipFill>
        <p:spPr>
          <a:xfrm>
            <a:off x="0" y="-1"/>
            <a:ext cx="9144000" cy="6858001"/>
          </a:xfrm>
          <a:prstGeom prst="rect">
            <a:avLst/>
          </a:prstGeom>
        </p:spPr>
      </p:pic>
      <p:pic>
        <p:nvPicPr>
          <p:cNvPr id="15" name="Picture 14" descr="AH_Logo_Spot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4000" y="1298221"/>
            <a:ext cx="3941704" cy="3941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4569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57" r:id="rId2"/>
    <p:sldLayoutId id="2147483763" r:id="rId3"/>
    <p:sldLayoutId id="2147483766" r:id="rId4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ight Triangle 6"/>
          <p:cNvSpPr/>
          <p:nvPr userDrawn="1"/>
        </p:nvSpPr>
        <p:spPr>
          <a:xfrm flipH="1">
            <a:off x="7842558" y="5672666"/>
            <a:ext cx="1301439" cy="1185333"/>
          </a:xfrm>
          <a:prstGeom prst="rtTriangle">
            <a:avLst/>
          </a:prstGeom>
          <a:solidFill>
            <a:srgbClr val="2EB18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152397" y="6458422"/>
            <a:ext cx="719222" cy="365125"/>
          </a:xfrm>
          <a:prstGeom prst="rect">
            <a:avLst/>
          </a:prstGeom>
          <a:ln>
            <a:noFill/>
          </a:ln>
        </p:spPr>
        <p:txBody>
          <a:bodyPr/>
          <a:lstStyle>
            <a:lvl1pPr algn="r">
              <a:defRPr sz="1000">
                <a:solidFill>
                  <a:srgbClr val="BFBFBF"/>
                </a:solidFill>
              </a:defRPr>
            </a:lvl1pPr>
          </a:lstStyle>
          <a:p>
            <a:fld id="{96225B6E-D1E7-E846-980D-22E9B7CA94B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 descr="AH_Logo_Spot.png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0297" y="6001926"/>
            <a:ext cx="592666" cy="592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567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735" r:id="rId2"/>
    <p:sldLayoutId id="2147483756" r:id="rId3"/>
    <p:sldLayoutId id="2147483758" r:id="rId4"/>
    <p:sldLayoutId id="2147483761" r:id="rId5"/>
    <p:sldLayoutId id="2147483762" r:id="rId6"/>
    <p:sldLayoutId id="2147483764" r:id="rId7"/>
    <p:sldLayoutId id="2147483765" r:id="rId8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12000">
              <a:schemeClr val="bg1"/>
            </a:gs>
            <a:gs pos="0">
              <a:schemeClr val="bg1">
                <a:lumMod val="9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772" y="228600"/>
            <a:ext cx="8608891" cy="6096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914400"/>
            <a:ext cx="8610600" cy="5181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549514" y="4191000"/>
            <a:ext cx="1566076" cy="120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13">
              <a:solidFill>
                <a:prstClr val="white"/>
              </a:solidFill>
            </a:endParaRP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6629400" y="6416681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7013CDE5-58DF-46A3-9665-33FB3751C6F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2606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</p:sldLayoutIdLst>
  <p:hf sldNum="0" hdr="0" ftr="0" dt="0"/>
  <p:txStyles>
    <p:titleStyle>
      <a:lvl1pPr algn="l" defTabSz="514350" rtl="0" eaLnBrk="1" latinLnBrk="0" hangingPunct="1">
        <a:spcBef>
          <a:spcPct val="0"/>
        </a:spcBef>
        <a:buNone/>
        <a:defRPr sz="1575" b="1" kern="1200">
          <a:solidFill>
            <a:srgbClr val="C00000"/>
          </a:solidFill>
          <a:latin typeface="+mj-lt"/>
          <a:ea typeface="+mj-ea"/>
          <a:cs typeface="+mj-cs"/>
        </a:defRPr>
      </a:lvl1pPr>
    </p:titleStyle>
    <p:bodyStyle>
      <a:lvl1pPr marL="192881" indent="-192881" algn="l" defTabSz="514350" rtl="0" eaLnBrk="1" latinLnBrk="0" hangingPunct="1">
        <a:spcBef>
          <a:spcPct val="20000"/>
        </a:spcBef>
        <a:buFont typeface="Arial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417910" indent="-160735" algn="l" defTabSz="514350" rtl="0" eaLnBrk="1" latinLnBrk="0" hangingPunct="1">
        <a:spcBef>
          <a:spcPct val="20000"/>
        </a:spcBef>
        <a:buFont typeface="Arial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642938" indent="-128588" algn="l" defTabSz="514350" rtl="0" eaLnBrk="1" latinLnBrk="0" hangingPunct="1">
        <a:spcBef>
          <a:spcPct val="20000"/>
        </a:spcBef>
        <a:buFont typeface="Arial" pitchFamily="34" charset="0"/>
        <a:buChar char="•"/>
        <a:defRPr sz="788" kern="1200">
          <a:solidFill>
            <a:schemeClr val="tx1"/>
          </a:solidFill>
          <a:latin typeface="+mn-lt"/>
          <a:ea typeface="+mn-ea"/>
          <a:cs typeface="+mn-cs"/>
        </a:defRPr>
      </a:lvl3pPr>
      <a:lvl4pPr marL="900113" indent="-128588" algn="l" defTabSz="514350" rtl="0" eaLnBrk="1" latinLnBrk="0" hangingPunct="1">
        <a:spcBef>
          <a:spcPct val="20000"/>
        </a:spcBef>
        <a:buFont typeface="Arial" pitchFamily="34" charset="0"/>
        <a:buChar char="–"/>
        <a:defRPr sz="675" kern="1200">
          <a:solidFill>
            <a:schemeClr val="tx1"/>
          </a:solidFill>
          <a:latin typeface="+mn-lt"/>
          <a:ea typeface="+mn-ea"/>
          <a:cs typeface="+mn-cs"/>
        </a:defRPr>
      </a:lvl4pPr>
      <a:lvl5pPr marL="1157288" indent="-128588" algn="l" defTabSz="514350" rtl="0" eaLnBrk="1" latinLnBrk="0" hangingPunct="1">
        <a:spcBef>
          <a:spcPct val="20000"/>
        </a:spcBef>
        <a:buFont typeface="Arial" pitchFamily="34" charset="0"/>
        <a:buChar char="»"/>
        <a:defRPr sz="675" kern="1200">
          <a:solidFill>
            <a:schemeClr val="tx1"/>
          </a:solidFill>
          <a:latin typeface="+mn-lt"/>
          <a:ea typeface="+mn-ea"/>
          <a:cs typeface="+mn-cs"/>
        </a:defRPr>
      </a:lvl5pPr>
      <a:lvl6pPr marL="1414463" indent="-128588" algn="l" defTabSz="514350" rtl="0" eaLnBrk="1" latinLnBrk="0" hangingPunct="1"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6493505"/>
            <a:ext cx="9144000" cy="381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rgbClr val="6F3505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29600" y="6477000"/>
            <a:ext cx="914400" cy="381000"/>
          </a:xfrm>
          <a:prstGeom prst="rect">
            <a:avLst/>
          </a:prstGeom>
        </p:spPr>
        <p:txBody>
          <a:bodyPr anchor="ctr"/>
          <a:lstStyle>
            <a:lvl1pPr algn="r"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83EDDF39-FDB9-4147-9B62-A7A84CE84B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2672009" y="6611779"/>
            <a:ext cx="388119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dirty="0"/>
              <a:t>This</a:t>
            </a:r>
            <a:r>
              <a:rPr lang="en-US" sz="1000" i="1" baseline="0" dirty="0"/>
              <a:t> presentation and the information contained herein are confidential</a:t>
            </a:r>
            <a:endParaRPr lang="en-US" sz="1000" i="1" dirty="0"/>
          </a:p>
        </p:txBody>
      </p:sp>
    </p:spTree>
    <p:extLst>
      <p:ext uri="{BB962C8B-B14F-4D97-AF65-F5344CB8AC3E}">
        <p14:creationId xmlns:p14="http://schemas.microsoft.com/office/powerpoint/2010/main" val="1935996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package" Target="../embeddings/Microsoft_Excel_Worksheet.xlsx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chart" Target="../charts/char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2.jpe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.png"/><Relationship Id="rId5" Type="http://schemas.openxmlformats.org/officeDocument/2006/relationships/image" Target="../media/image25.png"/><Relationship Id="rId4" Type="http://schemas.openxmlformats.org/officeDocument/2006/relationships/image" Target="../media/image24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8.png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653FF36-F6AA-472E-A294-8A3A84085E67}"/>
              </a:ext>
            </a:extLst>
          </p:cNvPr>
          <p:cNvSpPr txBox="1"/>
          <p:nvPr/>
        </p:nvSpPr>
        <p:spPr>
          <a:xfrm>
            <a:off x="1831706" y="5489604"/>
            <a:ext cx="6347297" cy="7903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2800" b="1" spc="600" baseline="0" dirty="0">
                <a:solidFill>
                  <a:srgbClr val="0B5539"/>
                </a:solidFill>
              </a:rPr>
              <a:t>Ancient Harvest &amp; Pamela’s Brand Introduction</a:t>
            </a:r>
            <a:endParaRPr lang="en-US" sz="1400" b="1" spc="600" baseline="0" dirty="0">
              <a:solidFill>
                <a:srgbClr val="0B5539"/>
              </a:solidFill>
            </a:endParaRPr>
          </a:p>
        </p:txBody>
      </p:sp>
      <p:pic>
        <p:nvPicPr>
          <p:cNvPr id="6" name="Picture 2" descr="Home page">
            <a:extLst>
              <a:ext uri="{FF2B5EF4-FFF2-40B4-BE49-F238E27FC236}">
                <a16:creationId xmlns:a16="http://schemas.microsoft.com/office/drawing/2014/main" id="{A57F44C8-7F19-4A24-8161-F850BDA8F5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4306" y="727833"/>
            <a:ext cx="2419350" cy="1123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41601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EDACCFA8-439B-4580-9566-43F57A81CD6F}"/>
              </a:ext>
            </a:extLst>
          </p:cNvPr>
          <p:cNvSpPr/>
          <p:nvPr/>
        </p:nvSpPr>
        <p:spPr>
          <a:xfrm>
            <a:off x="7353300" y="5381625"/>
            <a:ext cx="1790700" cy="147637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00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7047B68-4B91-493D-BEB9-D6799F91B82A}"/>
              </a:ext>
            </a:extLst>
          </p:cNvPr>
          <p:cNvSpPr txBox="1"/>
          <p:nvPr/>
        </p:nvSpPr>
        <p:spPr>
          <a:xfrm>
            <a:off x="327690" y="6519446"/>
            <a:ext cx="80445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source:  SPINS IRI - NPI Brands - US Natural Enhanced Channels – 24 weeks ending 12/27/2020 - SS Pancake &amp; Waffle Mixes</a:t>
            </a:r>
          </a:p>
          <a:p>
            <a:r>
              <a:rPr lang="en-US" sz="800" dirty="0"/>
              <a:t>Nielsen NPI brands- US FOOD Channel- 24 weeks ending in 12/26/2020- Pancake Mix, &amp; All Purpose Baking Mix (Pamela’s 24 oz pancake mix) </a:t>
            </a:r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F33FCD5B-AD7D-4BD3-9497-7652696840F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13290471"/>
              </p:ext>
            </p:extLst>
          </p:nvPr>
        </p:nvGraphicFramePr>
        <p:xfrm>
          <a:off x="1076176" y="4698791"/>
          <a:ext cx="5939980" cy="16554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2" imgW="6181817" imgH="1723861" progId="Excel.Sheet.12">
                  <p:embed/>
                </p:oleObj>
              </mc:Choice>
              <mc:Fallback>
                <p:oleObj name="Worksheet" r:id="rId2" imgW="6181817" imgH="1723861" progId="Excel.Sheet.12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F33FCD5B-AD7D-4BD3-9497-7652696840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076176" y="4698791"/>
                        <a:ext cx="5939980" cy="16554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CC0DFB41-8594-4165-8174-4E82EA96C7A6}"/>
              </a:ext>
            </a:extLst>
          </p:cNvPr>
          <p:cNvSpPr txBox="1"/>
          <p:nvPr/>
        </p:nvSpPr>
        <p:spPr>
          <a:xfrm>
            <a:off x="146809" y="693686"/>
            <a:ext cx="81582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ED7D31"/>
              </a:buClr>
              <a:buFont typeface="Arial" panose="020B0604020202020204" pitchFamily="34" charset="0"/>
              <a:buChar char="•"/>
            </a:pPr>
            <a:r>
              <a:rPr lang="en-US" u="sng" dirty="0"/>
              <a:t>#1 most productive</a:t>
            </a:r>
            <a:r>
              <a:rPr lang="en-US" dirty="0"/>
              <a:t> and </a:t>
            </a:r>
            <a:r>
              <a:rPr lang="en-US" u="sng" dirty="0"/>
              <a:t>Top 4 in $ sales</a:t>
            </a:r>
            <a:r>
              <a:rPr lang="en-US" dirty="0"/>
              <a:t> ‘better-for-you’ pancake brand in Food &amp; Natural channels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12BE23AD-18A1-4D86-8112-D121E4FB672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11679293"/>
              </p:ext>
            </p:extLst>
          </p:nvPr>
        </p:nvGraphicFramePr>
        <p:xfrm>
          <a:off x="1076176" y="1404092"/>
          <a:ext cx="5922628" cy="3161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1BC7C66-B9CC-4EA6-96AC-A42981631D43}"/>
              </a:ext>
            </a:extLst>
          </p:cNvPr>
          <p:cNvSpPr/>
          <p:nvPr/>
        </p:nvSpPr>
        <p:spPr>
          <a:xfrm>
            <a:off x="1737004" y="2113830"/>
            <a:ext cx="743712" cy="213211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6A1BFE08-0099-49DE-B837-374AF0009A3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8785" y="1734647"/>
            <a:ext cx="1562505" cy="2045025"/>
          </a:xfrm>
          <a:prstGeom prst="rect">
            <a:avLst/>
          </a:prstGeom>
        </p:spPr>
      </p:pic>
      <p:pic>
        <p:nvPicPr>
          <p:cNvPr id="10" name="Picture 9" descr="Text&#10;&#10;Description automatically generated">
            <a:extLst>
              <a:ext uri="{FF2B5EF4-FFF2-40B4-BE49-F238E27FC236}">
                <a16:creationId xmlns:a16="http://schemas.microsoft.com/office/drawing/2014/main" id="{73917981-58BB-44B9-84DE-D6E81CEA928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8807" y="3965430"/>
            <a:ext cx="983761" cy="2308912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5891830-50EF-433E-8C1B-C190734B6EE0}"/>
              </a:ext>
            </a:extLst>
          </p:cNvPr>
          <p:cNvCxnSpPr>
            <a:cxnSpLocks/>
          </p:cNvCxnSpPr>
          <p:nvPr/>
        </p:nvCxnSpPr>
        <p:spPr>
          <a:xfrm>
            <a:off x="327689" y="701689"/>
            <a:ext cx="8244904" cy="0"/>
          </a:xfrm>
          <a:prstGeom prst="line">
            <a:avLst/>
          </a:prstGeom>
          <a:ln w="38100" cmpd="sng">
            <a:solidFill>
              <a:srgbClr val="2EB18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D4D95BE3-0BF7-4AE6-92A3-FBBBAD5CF42E}"/>
              </a:ext>
            </a:extLst>
          </p:cNvPr>
          <p:cNvSpPr txBox="1">
            <a:spLocks/>
          </p:cNvSpPr>
          <p:nvPr/>
        </p:nvSpPr>
        <p:spPr>
          <a:xfrm>
            <a:off x="272775" y="120688"/>
            <a:ext cx="8627944" cy="710406"/>
          </a:xfrm>
        </p:spPr>
        <p:txBody>
          <a:bodyPr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Bef>
                <a:spcPts val="0"/>
              </a:spcBef>
              <a:buClr>
                <a:srgbClr val="000000"/>
              </a:buClr>
            </a:pPr>
            <a:r>
              <a:rPr lang="en-US" sz="2800" b="1" dirty="0">
                <a:solidFill>
                  <a:srgbClr val="2EB18E"/>
                </a:solidFill>
                <a:latin typeface="Calibri"/>
                <a:cs typeface="Calibri"/>
                <a:sym typeface="Arial"/>
              </a:rPr>
              <a:t>Pamela’s Pancake Sales &amp; Productivity Performance</a:t>
            </a:r>
          </a:p>
        </p:txBody>
      </p:sp>
    </p:spTree>
    <p:extLst>
      <p:ext uri="{BB962C8B-B14F-4D97-AF65-F5344CB8AC3E}">
        <p14:creationId xmlns:p14="http://schemas.microsoft.com/office/powerpoint/2010/main" val="9270249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C40764-76CD-4EBF-B44D-EFA4DD4B01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28218" y="6415345"/>
            <a:ext cx="843571" cy="288722"/>
          </a:xfrm>
        </p:spPr>
        <p:txBody>
          <a:bodyPr/>
          <a:lstStyle/>
          <a:p>
            <a:fld id="{BA9C386E-018F-C145-B754-8F5EF6EE0F5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828432D-2BF7-407E-8FC5-8F4B4813D69E}"/>
              </a:ext>
            </a:extLst>
          </p:cNvPr>
          <p:cNvSpPr txBox="1"/>
          <p:nvPr/>
        </p:nvSpPr>
        <p:spPr>
          <a:xfrm>
            <a:off x="1144279" y="6632106"/>
            <a:ext cx="377902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*based on 1 serving size dry mix as designated by brand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28A66D0A-3D60-49DC-8071-B2D8B9191F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6271" y="2766009"/>
            <a:ext cx="574803" cy="852824"/>
          </a:xfrm>
          <a:prstGeom prst="rect">
            <a:avLst/>
          </a:prstGeom>
        </p:spPr>
      </p:pic>
      <p:pic>
        <p:nvPicPr>
          <p:cNvPr id="25" name="Picture 2">
            <a:extLst>
              <a:ext uri="{FF2B5EF4-FFF2-40B4-BE49-F238E27FC236}">
                <a16:creationId xmlns:a16="http://schemas.microsoft.com/office/drawing/2014/main" id="{53CD6749-EFCC-4D98-B899-01FDBD3B38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901" y="3654571"/>
            <a:ext cx="843542" cy="843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9" name="Table 5">
            <a:extLst>
              <a:ext uri="{FF2B5EF4-FFF2-40B4-BE49-F238E27FC236}">
                <a16:creationId xmlns:a16="http://schemas.microsoft.com/office/drawing/2014/main" id="{9DD7ABB1-01C7-4DFB-99F5-18A6D24DFD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9060192"/>
              </p:ext>
            </p:extLst>
          </p:nvPr>
        </p:nvGraphicFramePr>
        <p:xfrm>
          <a:off x="1864981" y="1376153"/>
          <a:ext cx="5821539" cy="4910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8139">
                  <a:extLst>
                    <a:ext uri="{9D8B030D-6E8A-4147-A177-3AD203B41FA5}">
                      <a16:colId xmlns:a16="http://schemas.microsoft.com/office/drawing/2014/main" val="1973690728"/>
                    </a:ext>
                  </a:extLst>
                </a:gridCol>
                <a:gridCol w="766482">
                  <a:extLst>
                    <a:ext uri="{9D8B030D-6E8A-4147-A177-3AD203B41FA5}">
                      <a16:colId xmlns:a16="http://schemas.microsoft.com/office/drawing/2014/main" val="2970402020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1290219683"/>
                    </a:ext>
                  </a:extLst>
                </a:gridCol>
                <a:gridCol w="874059">
                  <a:extLst>
                    <a:ext uri="{9D8B030D-6E8A-4147-A177-3AD203B41FA5}">
                      <a16:colId xmlns:a16="http://schemas.microsoft.com/office/drawing/2014/main" val="1966256936"/>
                    </a:ext>
                  </a:extLst>
                </a:gridCol>
                <a:gridCol w="968188">
                  <a:extLst>
                    <a:ext uri="{9D8B030D-6E8A-4147-A177-3AD203B41FA5}">
                      <a16:colId xmlns:a16="http://schemas.microsoft.com/office/drawing/2014/main" val="55934332"/>
                    </a:ext>
                  </a:extLst>
                </a:gridCol>
                <a:gridCol w="820271">
                  <a:extLst>
                    <a:ext uri="{9D8B030D-6E8A-4147-A177-3AD203B41FA5}">
                      <a16:colId xmlns:a16="http://schemas.microsoft.com/office/drawing/2014/main" val="2709180924"/>
                    </a:ext>
                  </a:extLst>
                </a:gridCol>
              </a:tblGrid>
              <a:tr h="524065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Brand &amp; Produc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Gluten-Fre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dded Sugars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Whole Grai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Protein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Carbs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5877261"/>
                  </a:ext>
                </a:extLst>
              </a:tr>
              <a:tr h="790036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Pamela’s Baking &amp; Pancake Mix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5F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B050"/>
                          </a:solidFill>
                        </a:rPr>
                        <a:t>Y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B050"/>
                          </a:solidFill>
                        </a:rPr>
                        <a:t>N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B050"/>
                          </a:solidFill>
                        </a:rPr>
                        <a:t>Y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4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B050"/>
                          </a:solidFill>
                        </a:rPr>
                        <a:t>25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8531370"/>
                  </a:ext>
                </a:extLst>
              </a:tr>
              <a:tr h="885386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Kodiak Cakes Power Cakes Buttermilk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5F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FF0000"/>
                          </a:solidFill>
                        </a:rPr>
                        <a:t>N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FF0000"/>
                          </a:solidFill>
                        </a:rPr>
                        <a:t>YES, 3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B050"/>
                          </a:solidFill>
                        </a:rPr>
                        <a:t>Y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B050"/>
                          </a:solidFill>
                        </a:rPr>
                        <a:t>14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FF0000"/>
                          </a:solidFill>
                        </a:rPr>
                        <a:t>30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5508033"/>
                  </a:ext>
                </a:extLst>
              </a:tr>
              <a:tr h="885386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Birch Benders Classic Recip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5F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FF0000"/>
                          </a:solidFill>
                        </a:rPr>
                        <a:t>N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FF0000"/>
                          </a:solidFill>
                        </a:rPr>
                        <a:t>YES, 6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FF0000"/>
                          </a:solidFill>
                        </a:rPr>
                        <a:t>N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4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B050"/>
                          </a:solidFill>
                        </a:rPr>
                        <a:t>25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4743334"/>
                  </a:ext>
                </a:extLst>
              </a:tr>
              <a:tr h="885386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King Arthur Gluten Free Pancake Mix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5F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B050"/>
                          </a:solidFill>
                        </a:rPr>
                        <a:t>Y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FF0000"/>
                          </a:solidFill>
                        </a:rPr>
                        <a:t>YES, 4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00B050"/>
                          </a:solidFill>
                        </a:rPr>
                        <a:t>Y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FF0000"/>
                          </a:solidFill>
                        </a:rPr>
                        <a:t>2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FF0000"/>
                          </a:solidFill>
                        </a:rPr>
                        <a:t>41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707558"/>
                  </a:ext>
                </a:extLst>
              </a:tr>
              <a:tr h="885386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err="1"/>
                        <a:t>Krusteaz</a:t>
                      </a:r>
                      <a:endParaRPr lang="en-US" sz="1400" dirty="0"/>
                    </a:p>
                    <a:p>
                      <a:pPr algn="ctr"/>
                      <a:r>
                        <a:rPr lang="en-US" sz="1400" dirty="0"/>
                        <a:t>Light &amp; Fluff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F5F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FF0000"/>
                          </a:solidFill>
                        </a:rPr>
                        <a:t>N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FF0000"/>
                          </a:solidFill>
                        </a:rPr>
                        <a:t>YES, 10 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FF0000"/>
                          </a:solidFill>
                        </a:rPr>
                        <a:t>N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4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rgbClr val="FF0000"/>
                          </a:solidFill>
                        </a:rPr>
                        <a:t>45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6694982"/>
                  </a:ext>
                </a:extLst>
              </a:tr>
            </a:tbl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5D83FDD1-7217-40E2-B6A8-611CA7F577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6376" y="5466688"/>
            <a:ext cx="746652" cy="74665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D01D174-0A06-4608-A135-7B8C64E164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5731" y="4560051"/>
            <a:ext cx="627942" cy="786452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96AA53E-B076-4EC2-8FE1-66203B4BB5DC}"/>
              </a:ext>
            </a:extLst>
          </p:cNvPr>
          <p:cNvCxnSpPr>
            <a:cxnSpLocks/>
          </p:cNvCxnSpPr>
          <p:nvPr/>
        </p:nvCxnSpPr>
        <p:spPr>
          <a:xfrm>
            <a:off x="361245" y="1076208"/>
            <a:ext cx="8244904" cy="0"/>
          </a:xfrm>
          <a:prstGeom prst="line">
            <a:avLst/>
          </a:prstGeom>
          <a:ln w="38100" cmpd="sng">
            <a:solidFill>
              <a:srgbClr val="2EB18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45044234-E567-4F06-821C-DE3B185C74B3}"/>
              </a:ext>
            </a:extLst>
          </p:cNvPr>
          <p:cNvSpPr txBox="1">
            <a:spLocks/>
          </p:cNvSpPr>
          <p:nvPr/>
        </p:nvSpPr>
        <p:spPr>
          <a:xfrm>
            <a:off x="258028" y="99611"/>
            <a:ext cx="8627944" cy="710406"/>
          </a:xfrm>
        </p:spPr>
        <p:txBody>
          <a:bodyPr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Bef>
                <a:spcPts val="0"/>
              </a:spcBef>
              <a:buClr>
                <a:srgbClr val="000000"/>
              </a:buClr>
            </a:pPr>
            <a:r>
              <a:rPr lang="en-US" sz="2800" b="1" dirty="0">
                <a:solidFill>
                  <a:srgbClr val="2EB18E"/>
                </a:solidFill>
                <a:latin typeface="Calibri"/>
                <a:cs typeface="Calibri"/>
                <a:sym typeface="Arial"/>
              </a:rPr>
              <a:t>Pamela’s Pancakes are Superior to Competitive ‘Better-For-You’ Brands in Benefits Consumers Care About</a:t>
            </a:r>
          </a:p>
        </p:txBody>
      </p:sp>
      <p:pic>
        <p:nvPicPr>
          <p:cNvPr id="16" name="Picture 15" descr="Text&#10;&#10;Description automatically generated">
            <a:extLst>
              <a:ext uri="{FF2B5EF4-FFF2-40B4-BE49-F238E27FC236}">
                <a16:creationId xmlns:a16="http://schemas.microsoft.com/office/drawing/2014/main" id="{53B6BB3A-F51B-423A-8BE6-32237F7B277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66" y="1850088"/>
            <a:ext cx="699811" cy="915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8509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43"/>
          <p:cNvSpPr/>
          <p:nvPr/>
        </p:nvSpPr>
        <p:spPr>
          <a:xfrm>
            <a:off x="291173" y="301197"/>
            <a:ext cx="7840200" cy="7388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u="none" dirty="0">
                <a:solidFill>
                  <a:srgbClr val="2EB18E"/>
                </a:solidFill>
                <a:latin typeface="Calibri"/>
                <a:ea typeface="Calibri"/>
                <a:cs typeface="Calibri"/>
                <a:sym typeface="Calibri"/>
              </a:rPr>
              <a:t>Ancient Harvest - Who We Are…</a:t>
            </a:r>
            <a:endParaRPr sz="3600" b="1" u="none" dirty="0">
              <a:solidFill>
                <a:srgbClr val="2EB18E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A0EF1D5-5EF7-430B-8D7B-E45DC0DF8347}"/>
              </a:ext>
            </a:extLst>
          </p:cNvPr>
          <p:cNvSpPr/>
          <p:nvPr/>
        </p:nvSpPr>
        <p:spPr>
          <a:xfrm>
            <a:off x="335848" y="1153131"/>
            <a:ext cx="7840274" cy="70788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Our Mission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Return natural, plant-based nutrition to American diet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DD5855E-0852-4621-92D8-3A812B64752E}"/>
              </a:ext>
            </a:extLst>
          </p:cNvPr>
          <p:cNvSpPr/>
          <p:nvPr/>
        </p:nvSpPr>
        <p:spPr>
          <a:xfrm>
            <a:off x="342474" y="3965143"/>
            <a:ext cx="7840274" cy="4001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Our Approach: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A308EBD-832E-4019-B212-017D6FD9AA61}"/>
              </a:ext>
            </a:extLst>
          </p:cNvPr>
          <p:cNvCxnSpPr>
            <a:cxnSpLocks/>
          </p:cNvCxnSpPr>
          <p:nvPr/>
        </p:nvCxnSpPr>
        <p:spPr>
          <a:xfrm>
            <a:off x="428358" y="3787649"/>
            <a:ext cx="8244904" cy="0"/>
          </a:xfrm>
          <a:prstGeom prst="line">
            <a:avLst/>
          </a:prstGeom>
          <a:ln w="6350" cmpd="sng">
            <a:solidFill>
              <a:srgbClr val="0B553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351615FA-AB7C-42D8-A8FE-B665ED61C2BE}"/>
              </a:ext>
            </a:extLst>
          </p:cNvPr>
          <p:cNvSpPr txBox="1"/>
          <p:nvPr/>
        </p:nvSpPr>
        <p:spPr>
          <a:xfrm>
            <a:off x="342474" y="4398054"/>
            <a:ext cx="8330788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Incorporate the nutritional benefits of ancient grains into today’s modern diets &amp; lifestyles</a:t>
            </a:r>
          </a:p>
          <a:p>
            <a:pPr marL="457200" indent="-457200" defTabSz="457200">
              <a:buClrTx/>
              <a:buFont typeface="+mj-lt"/>
              <a:buAutoNum type="arabicPeriod"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Transform existing food categories with a unique approach to ingredients &amp; recipe formulation</a:t>
            </a:r>
            <a:endParaRPr lang="en-US" sz="2000" kern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000" kern="1200" dirty="0">
                <a:latin typeface="Calibri" panose="020F0502020204030204" pitchFamily="34" charset="0"/>
                <a:cs typeface="Calibri" panose="020F0502020204030204" pitchFamily="34" charset="0"/>
              </a:rPr>
              <a:t>Build trust with consumers by using clean, recognizable ingredients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71F63F4-A687-407C-A5B3-0E75DCC56CB0}"/>
              </a:ext>
            </a:extLst>
          </p:cNvPr>
          <p:cNvCxnSpPr>
            <a:cxnSpLocks/>
          </p:cNvCxnSpPr>
          <p:nvPr/>
        </p:nvCxnSpPr>
        <p:spPr>
          <a:xfrm>
            <a:off x="394242" y="1080329"/>
            <a:ext cx="8244904" cy="0"/>
          </a:xfrm>
          <a:prstGeom prst="line">
            <a:avLst/>
          </a:prstGeom>
          <a:ln w="38100" cmpd="sng">
            <a:solidFill>
              <a:srgbClr val="2EB18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692F8F81-E410-4BA4-8EC8-1CA442AA118B}"/>
              </a:ext>
            </a:extLst>
          </p:cNvPr>
          <p:cNvSpPr/>
          <p:nvPr/>
        </p:nvSpPr>
        <p:spPr>
          <a:xfrm>
            <a:off x="2444355" y="3205760"/>
            <a:ext cx="204376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ucts are Gluten-Free and                Non-GMO Project Verified with many being USDA organic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FC8B233-D3BD-4B56-BB02-FE06FDF2A08B}"/>
              </a:ext>
            </a:extLst>
          </p:cNvPr>
          <p:cNvSpPr txBox="1"/>
          <p:nvPr/>
        </p:nvSpPr>
        <p:spPr>
          <a:xfrm>
            <a:off x="342474" y="3192770"/>
            <a:ext cx="20327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nt-based nutrition company and natural food pioneer since 1983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4C1B822-B021-4200-A578-9734AC21A58B}"/>
              </a:ext>
            </a:extLst>
          </p:cNvPr>
          <p:cNvSpPr txBox="1"/>
          <p:nvPr/>
        </p:nvSpPr>
        <p:spPr>
          <a:xfrm>
            <a:off x="6661630" y="3211133"/>
            <a:ext cx="19410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cent rebrand has invigorated growth by modernizing our look &amp; appealing to a younger shopper</a:t>
            </a: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BA2C3901-4E7D-4DD2-885A-704B4E2586D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1021" y="2100758"/>
            <a:ext cx="1533775" cy="1021519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120706B1-78BA-4C88-A2EC-34E1B1196BE2}"/>
              </a:ext>
            </a:extLst>
          </p:cNvPr>
          <p:cNvSpPr txBox="1"/>
          <p:nvPr/>
        </p:nvSpPr>
        <p:spPr>
          <a:xfrm>
            <a:off x="4572000" y="3204473"/>
            <a:ext cx="184559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st company to bring quinoa to the US over 35 years ago – and still #1 brand today!</a:t>
            </a: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9712574D-1028-4108-AC2B-A0FEE8E8982A}"/>
              </a:ext>
            </a:extLst>
          </p:cNvPr>
          <p:cNvCxnSpPr>
            <a:cxnSpLocks/>
          </p:cNvCxnSpPr>
          <p:nvPr/>
        </p:nvCxnSpPr>
        <p:spPr>
          <a:xfrm flipV="1">
            <a:off x="342474" y="3122277"/>
            <a:ext cx="2093092" cy="1"/>
          </a:xfrm>
          <a:prstGeom prst="line">
            <a:avLst/>
          </a:prstGeom>
          <a:ln w="6350" cmpd="sng">
            <a:solidFill>
              <a:srgbClr val="0B553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2" name="Picture 61" descr="OH_Harmony-Quinoa-ChkPea-Salad SMALL.png">
            <a:extLst>
              <a:ext uri="{FF2B5EF4-FFF2-40B4-BE49-F238E27FC236}">
                <a16:creationId xmlns:a16="http://schemas.microsoft.com/office/drawing/2014/main" id="{4EFC8DF8-5FF5-4343-8560-F28C0293E8E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961" t="14139" r="21940" b="46132"/>
          <a:stretch/>
        </p:blipFill>
        <p:spPr>
          <a:xfrm>
            <a:off x="206484" y="1950013"/>
            <a:ext cx="2229082" cy="1165410"/>
          </a:xfrm>
          <a:prstGeom prst="rect">
            <a:avLst/>
          </a:prstGeom>
        </p:spPr>
      </p:pic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F2459E33-D5D0-482E-86EA-637B19C69145}"/>
              </a:ext>
            </a:extLst>
          </p:cNvPr>
          <p:cNvCxnSpPr>
            <a:cxnSpLocks/>
          </p:cNvCxnSpPr>
          <p:nvPr/>
        </p:nvCxnSpPr>
        <p:spPr>
          <a:xfrm>
            <a:off x="428358" y="1940002"/>
            <a:ext cx="8244904" cy="0"/>
          </a:xfrm>
          <a:prstGeom prst="line">
            <a:avLst/>
          </a:prstGeom>
          <a:ln w="6350" cmpd="sng">
            <a:solidFill>
              <a:srgbClr val="0B553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547BFE7A-7B64-40A5-8454-2101719F75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12427" y="2139699"/>
            <a:ext cx="1243692" cy="110956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292F824-D60E-4C36-A67C-84D1A849720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61630" y="2362241"/>
            <a:ext cx="1981372" cy="804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3959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B5E07DE-3287-4CA1-A35E-F26B218149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994" y="993140"/>
            <a:ext cx="8809484" cy="586486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A7FFFC35-2871-4839-84C3-A8AB83F5594D}"/>
              </a:ext>
            </a:extLst>
          </p:cNvPr>
          <p:cNvSpPr txBox="1">
            <a:spLocks/>
          </p:cNvSpPr>
          <p:nvPr/>
        </p:nvSpPr>
        <p:spPr>
          <a:xfrm>
            <a:off x="198994" y="278377"/>
            <a:ext cx="8183562" cy="710406"/>
          </a:xfrm>
        </p:spPr>
        <p:txBody>
          <a:bodyPr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Bef>
                <a:spcPts val="0"/>
              </a:spcBef>
              <a:buClr>
                <a:srgbClr val="000000"/>
              </a:buClr>
            </a:pPr>
            <a:r>
              <a:rPr lang="en-US" sz="3200" b="1" dirty="0">
                <a:solidFill>
                  <a:srgbClr val="2EB18E"/>
                </a:solidFill>
                <a:latin typeface="Calibri"/>
                <a:cs typeface="Calibri"/>
                <a:sym typeface="Arial"/>
              </a:rPr>
              <a:t>Ancient Harvest Product Portfolio</a:t>
            </a:r>
          </a:p>
        </p:txBody>
      </p:sp>
    </p:spTree>
    <p:extLst>
      <p:ext uri="{BB962C8B-B14F-4D97-AF65-F5344CB8AC3E}">
        <p14:creationId xmlns:p14="http://schemas.microsoft.com/office/powerpoint/2010/main" val="28386608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9789D57-44CA-4121-951E-D1DEF961D40B}"/>
              </a:ext>
            </a:extLst>
          </p:cNvPr>
          <p:cNvSpPr/>
          <p:nvPr/>
        </p:nvSpPr>
        <p:spPr>
          <a:xfrm>
            <a:off x="7353300" y="5381625"/>
            <a:ext cx="1790700" cy="147637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00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7423C2-9351-4016-94FA-673C0E8C1DB2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272775" y="306098"/>
            <a:ext cx="8183562" cy="710406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</a:pPr>
            <a:r>
              <a:rPr lang="en-US" sz="3600" b="1" dirty="0">
                <a:solidFill>
                  <a:srgbClr val="2EB18E"/>
                </a:solidFill>
                <a:latin typeface="Calibri"/>
                <a:cs typeface="Calibri"/>
                <a:sym typeface="Arial"/>
              </a:rPr>
              <a:t>Ancient Harvest Quino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C09736B-8BE0-4EFF-BFEF-5C59AE4715C6}"/>
              </a:ext>
            </a:extLst>
          </p:cNvPr>
          <p:cNvSpPr txBox="1"/>
          <p:nvPr/>
        </p:nvSpPr>
        <p:spPr>
          <a:xfrm>
            <a:off x="211432" y="1336119"/>
            <a:ext cx="5040075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tabLst/>
              <a:defRPr/>
            </a:pPr>
            <a:r>
              <a:rPr kumimoji="0" lang="en-US" sz="16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Benefits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:</a:t>
            </a:r>
          </a:p>
          <a:p>
            <a:pPr marL="285750" indent="-285750" defTabSz="9144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solidFill>
                  <a:prstClr val="black"/>
                </a:solidFill>
              </a:rPr>
              <a:t>Quinoa category grew +32% in 2020 </a:t>
            </a:r>
          </a:p>
          <a:p>
            <a:pPr marL="285750" indent="-285750" defTabSz="9144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solidFill>
                  <a:prstClr val="black"/>
                </a:solidFill>
              </a:rPr>
              <a:t>Ancient Harvest is #1 branded Quinoa in U.S.</a:t>
            </a:r>
          </a:p>
          <a:p>
            <a:pPr marL="285750" indent="-285750" defTabSz="9144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100% Royal Bolivian Quinoa </a:t>
            </a:r>
          </a:p>
          <a:p>
            <a:pPr marL="742950" lvl="1" indent="-285750" defTabSz="9144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prstClr val="black"/>
                </a:solidFill>
              </a:rPr>
              <a:t>Delivers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uperior taste &amp; texture</a:t>
            </a:r>
          </a:p>
          <a:p>
            <a:pPr marL="285750" indent="-285750" defTabSz="9144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re-washed &amp; ready-to-cook</a:t>
            </a:r>
          </a:p>
          <a:p>
            <a:pPr marL="285750" indent="-285750" defTabSz="9144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ertified Organic &amp; Non-GMO Project Verified</a:t>
            </a:r>
            <a:endParaRPr lang="en-US" sz="1600" kern="0" dirty="0">
              <a:solidFill>
                <a:prstClr val="black"/>
              </a:solidFill>
            </a:endParaRPr>
          </a:p>
          <a:p>
            <a:pPr marL="285750" indent="-285750" defTabSz="9144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solidFill>
                  <a:prstClr val="black"/>
                </a:solidFill>
              </a:rPr>
              <a:t>Gluten Free</a:t>
            </a:r>
          </a:p>
          <a:p>
            <a:pPr marL="285750" indent="-285750" defTabSz="9144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Great source of complete plant-</a:t>
            </a:r>
            <a:r>
              <a:rPr lang="en-US" sz="1600" kern="0" dirty="0">
                <a:solidFill>
                  <a:prstClr val="black"/>
                </a:solidFill>
              </a:rPr>
              <a:t>based protein</a:t>
            </a:r>
          </a:p>
          <a:p>
            <a:pPr marL="742950" lvl="1" indent="-285750" defTabSz="9144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2X the protein</a:t>
            </a:r>
            <a:r>
              <a:rPr lang="en-US" sz="1400" kern="0" dirty="0">
                <a:solidFill>
                  <a:prstClr val="black"/>
                </a:solidFill>
              </a:rPr>
              <a:t> &amp; 3X the fiber of white rice!</a:t>
            </a: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tabLst/>
              <a:defRPr/>
            </a:pPr>
            <a:endParaRPr kumimoji="0" lang="en-US" sz="1600" b="1" i="0" u="sng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tabLst/>
              <a:defRPr/>
            </a:pPr>
            <a:endParaRPr kumimoji="0" lang="en-US" sz="1600" b="1" i="0" u="sng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tabLst/>
              <a:defRPr/>
            </a:pPr>
            <a:r>
              <a:rPr kumimoji="0" lang="en-US" sz="16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roduct Details: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Varieties:</a:t>
            </a:r>
          </a:p>
          <a:p>
            <a:pPr marL="800100" lvl="1" indent="-342900" defTabSz="9144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Traditional (White) Quinoa (27oz Value Size)</a:t>
            </a:r>
          </a:p>
          <a:p>
            <a:pPr marL="342900" indent="-342900" defTabSz="9144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Published Cost: $</a:t>
            </a:r>
            <a:r>
              <a:rPr lang="en-US" sz="1600" kern="0" dirty="0"/>
              <a:t>5.12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 per unit FOB (pick-up)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kern="0" dirty="0">
                <a:solidFill>
                  <a:prstClr val="black"/>
                </a:solidFill>
              </a:rPr>
              <a:t>27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oz resealable pouch / </a:t>
            </a:r>
            <a:r>
              <a:rPr lang="en-US" sz="1600" kern="0" dirty="0">
                <a:solidFill>
                  <a:prstClr val="black"/>
                </a:solidFill>
              </a:rPr>
              <a:t>6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count cas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C91B8EF-A699-4171-9F2E-54D878B608AA}"/>
              </a:ext>
            </a:extLst>
          </p:cNvPr>
          <p:cNvCxnSpPr>
            <a:cxnSpLocks/>
          </p:cNvCxnSpPr>
          <p:nvPr/>
        </p:nvCxnSpPr>
        <p:spPr>
          <a:xfrm>
            <a:off x="394242" y="1080329"/>
            <a:ext cx="8244904" cy="0"/>
          </a:xfrm>
          <a:prstGeom prst="line">
            <a:avLst/>
          </a:prstGeom>
          <a:ln w="38100" cmpd="sng">
            <a:solidFill>
              <a:srgbClr val="2EB18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4AF382E2-2A0E-445F-83EA-DD2E1BAE346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820" t="8149" r="18037" b="7112"/>
          <a:stretch/>
        </p:blipFill>
        <p:spPr>
          <a:xfrm>
            <a:off x="4886960" y="1173831"/>
            <a:ext cx="3891280" cy="5324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4872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2F21B35-9AB6-4577-A4DC-74BD54BE87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36257" y="1549483"/>
            <a:ext cx="5042140" cy="28655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95C0118-C2E3-429C-B8CA-BC864BD1901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48456" y="35549"/>
            <a:ext cx="8447087" cy="9718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ctr">
              <a:buClr>
                <a:srgbClr val="2EB18E"/>
              </a:buClr>
              <a:buSzPts val="3600"/>
            </a:pPr>
            <a:r>
              <a:rPr lang="en-US" sz="2800" b="1" dirty="0">
                <a:solidFill>
                  <a:srgbClr val="2EB18E"/>
                </a:solidFill>
                <a:latin typeface="+mn-lt"/>
                <a:sym typeface="Arial"/>
              </a:rPr>
              <a:t>Ancient Harvest Quinoa</a:t>
            </a:r>
            <a:br>
              <a:rPr lang="en-US" sz="2800" b="1" dirty="0">
                <a:solidFill>
                  <a:srgbClr val="2EB18E"/>
                </a:solidFill>
                <a:latin typeface="+mn-lt"/>
                <a:sym typeface="Arial"/>
              </a:rPr>
            </a:br>
            <a:r>
              <a:rPr lang="en-US" sz="2800" b="1" dirty="0">
                <a:solidFill>
                  <a:srgbClr val="2EB18E"/>
                </a:solidFill>
                <a:latin typeface="+mn-lt"/>
                <a:sym typeface="Arial"/>
              </a:rPr>
              <a:t>Let The #1 Brand Drive Your Category Growth!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4DA63FE-2F4F-4A9B-BBD7-91F0639971E4}"/>
              </a:ext>
            </a:extLst>
          </p:cNvPr>
          <p:cNvSpPr txBox="1"/>
          <p:nvPr/>
        </p:nvSpPr>
        <p:spPr>
          <a:xfrm>
            <a:off x="305389" y="1161816"/>
            <a:ext cx="32605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Quinoa Category $ Share in 2020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001B5C-FFBC-459F-BA38-0840270EF655}"/>
              </a:ext>
            </a:extLst>
          </p:cNvPr>
          <p:cNvSpPr txBox="1"/>
          <p:nvPr/>
        </p:nvSpPr>
        <p:spPr>
          <a:xfrm>
            <a:off x="4078843" y="1148163"/>
            <a:ext cx="49955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Quinoa Category Branded $ Growth 2020</a:t>
            </a:r>
          </a:p>
        </p:txBody>
      </p:sp>
      <p:pic>
        <p:nvPicPr>
          <p:cNvPr id="25" name="Picture 24" descr="A picture containing food&#10;&#10;Description automatically generated">
            <a:extLst>
              <a:ext uri="{FF2B5EF4-FFF2-40B4-BE49-F238E27FC236}">
                <a16:creationId xmlns:a16="http://schemas.microsoft.com/office/drawing/2014/main" id="{23EDF4B4-97CA-4CA9-A948-2179DCF6F9F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249" t="9034" r="42727" b="7263"/>
          <a:stretch/>
        </p:blipFill>
        <p:spPr>
          <a:xfrm>
            <a:off x="4933405" y="4623056"/>
            <a:ext cx="1137671" cy="1578545"/>
          </a:xfrm>
          <a:prstGeom prst="rect">
            <a:avLst/>
          </a:prstGeom>
        </p:spPr>
      </p:pic>
      <p:pic>
        <p:nvPicPr>
          <p:cNvPr id="27" name="Picture 26" descr="A picture containing food, lotion&#10;&#10;Description automatically generated">
            <a:extLst>
              <a:ext uri="{FF2B5EF4-FFF2-40B4-BE49-F238E27FC236}">
                <a16:creationId xmlns:a16="http://schemas.microsoft.com/office/drawing/2014/main" id="{2953990B-5987-458B-9604-0A255A2BEB6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715" t="8751" r="41818" b="7485"/>
          <a:stretch/>
        </p:blipFill>
        <p:spPr>
          <a:xfrm>
            <a:off x="6071592" y="4920564"/>
            <a:ext cx="1201374" cy="1578545"/>
          </a:xfrm>
          <a:prstGeom prst="rect">
            <a:avLst/>
          </a:prstGeom>
        </p:spPr>
      </p:pic>
      <p:pic>
        <p:nvPicPr>
          <p:cNvPr id="29" name="Picture 28" descr="A picture containing food&#10;&#10;Description automatically generated">
            <a:extLst>
              <a:ext uri="{FF2B5EF4-FFF2-40B4-BE49-F238E27FC236}">
                <a16:creationId xmlns:a16="http://schemas.microsoft.com/office/drawing/2014/main" id="{E931A3D2-726C-49F8-8905-9C83DA54A24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0251" t="9571" r="16924" b="7146"/>
          <a:stretch/>
        </p:blipFill>
        <p:spPr>
          <a:xfrm>
            <a:off x="7272966" y="4623056"/>
            <a:ext cx="1183085" cy="1578545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C34C2401-4762-43DC-8248-55F84AE4B8F3}"/>
              </a:ext>
            </a:extLst>
          </p:cNvPr>
          <p:cNvSpPr txBox="1"/>
          <p:nvPr/>
        </p:nvSpPr>
        <p:spPr>
          <a:xfrm>
            <a:off x="26510" y="4798689"/>
            <a:ext cx="499555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Ancient Harvest is the </a:t>
            </a:r>
            <a:r>
              <a:rPr lang="en-US" sz="1600" u="sng" dirty="0"/>
              <a:t>#1 brand</a:t>
            </a:r>
            <a:r>
              <a:rPr lang="en-US" sz="1600" dirty="0"/>
              <a:t> in the US &amp; is driving </a:t>
            </a:r>
            <a:r>
              <a:rPr lang="en-US" sz="1600" u="sng" dirty="0"/>
              <a:t>nearly 50%</a:t>
            </a:r>
            <a:r>
              <a:rPr lang="en-US" sz="1600" dirty="0"/>
              <a:t> of the branded $ growth in the category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Ancient Harvest has a stable supply of quinoa with </a:t>
            </a:r>
            <a:r>
              <a:rPr lang="en-US" sz="1600" u="sng" dirty="0"/>
              <a:t>3 primary suppliers</a:t>
            </a:r>
            <a:r>
              <a:rPr lang="en-US" sz="1600" dirty="0"/>
              <a:t> working directly with farmers in North &amp; South America</a:t>
            </a:r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1347C45F-1F33-4D6F-BEA0-F0EFDE1D4A5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09218" y="2314537"/>
            <a:ext cx="497667" cy="49766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9F4D718-5E64-4681-B629-EF51E53D3379}"/>
              </a:ext>
            </a:extLst>
          </p:cNvPr>
          <p:cNvSpPr txBox="1"/>
          <p:nvPr/>
        </p:nvSpPr>
        <p:spPr>
          <a:xfrm>
            <a:off x="26510" y="6550396"/>
            <a:ext cx="75866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Source:  SPINS – US MULO + US Natural Enhanced Channels – Quinoa Category (excl. Private Label) – Past 52 </a:t>
            </a:r>
            <a:r>
              <a:rPr lang="en-US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Wks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 ending 12.27.20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FB1C7A0-D7FC-4008-B75C-E00F3CE8DEB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4482" t="8118" r="23065" b="3266"/>
          <a:stretch/>
        </p:blipFill>
        <p:spPr>
          <a:xfrm>
            <a:off x="339940" y="1591232"/>
            <a:ext cx="3035272" cy="3082180"/>
          </a:xfrm>
          <a:prstGeom prst="rect">
            <a:avLst/>
          </a:prstGeom>
        </p:spPr>
      </p:pic>
      <p:pic>
        <p:nvPicPr>
          <p:cNvPr id="14" name="Picture 13" descr="A close up of a sign&#10;&#10;Description automatically generated">
            <a:extLst>
              <a:ext uri="{FF2B5EF4-FFF2-40B4-BE49-F238E27FC236}">
                <a16:creationId xmlns:a16="http://schemas.microsoft.com/office/drawing/2014/main" id="{B4E4055C-5067-43BB-883D-35C9F83D559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20492" y="1669086"/>
            <a:ext cx="645451" cy="645451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4B33F0A-6AB5-4586-A95A-32207D22622E}"/>
              </a:ext>
            </a:extLst>
          </p:cNvPr>
          <p:cNvSpPr txBox="1"/>
          <p:nvPr/>
        </p:nvSpPr>
        <p:spPr>
          <a:xfrm>
            <a:off x="2976753" y="2293905"/>
            <a:ext cx="6454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31%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6B2799F-79A8-439D-B161-F98A7782B026}"/>
              </a:ext>
            </a:extLst>
          </p:cNvPr>
          <p:cNvCxnSpPr>
            <a:cxnSpLocks/>
          </p:cNvCxnSpPr>
          <p:nvPr/>
        </p:nvCxnSpPr>
        <p:spPr>
          <a:xfrm>
            <a:off x="449548" y="1012760"/>
            <a:ext cx="8244904" cy="0"/>
          </a:xfrm>
          <a:prstGeom prst="line">
            <a:avLst/>
          </a:prstGeom>
          <a:ln w="38100" cmpd="sng">
            <a:solidFill>
              <a:srgbClr val="2EB18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66572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9789D57-44CA-4121-951E-D1DEF961D40B}"/>
              </a:ext>
            </a:extLst>
          </p:cNvPr>
          <p:cNvSpPr/>
          <p:nvPr/>
        </p:nvSpPr>
        <p:spPr>
          <a:xfrm>
            <a:off x="7353300" y="5381625"/>
            <a:ext cx="1790700" cy="147637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00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7423C2-9351-4016-94FA-673C0E8C1DB2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272775" y="306098"/>
            <a:ext cx="8183562" cy="710406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</a:pPr>
            <a:r>
              <a:rPr lang="en-US" sz="3200" b="1" dirty="0">
                <a:solidFill>
                  <a:srgbClr val="2EB18E"/>
                </a:solidFill>
                <a:latin typeface="Calibri"/>
                <a:cs typeface="Calibri"/>
                <a:sym typeface="Arial"/>
              </a:rPr>
              <a:t>Ancient Harvest Organic Gluten Free Past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C09736B-8BE0-4EFF-BFEF-5C59AE4715C6}"/>
              </a:ext>
            </a:extLst>
          </p:cNvPr>
          <p:cNvSpPr txBox="1"/>
          <p:nvPr/>
        </p:nvSpPr>
        <p:spPr>
          <a:xfrm>
            <a:off x="242417" y="1336119"/>
            <a:ext cx="5182688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tabLst/>
              <a:defRPr/>
            </a:pPr>
            <a:r>
              <a:rPr kumimoji="0" lang="en-US" sz="16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Benefits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:</a:t>
            </a:r>
          </a:p>
          <a:p>
            <a:pPr marL="285750" indent="-285750" defTabSz="9144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solidFill>
                  <a:prstClr val="black"/>
                </a:solidFill>
              </a:rPr>
              <a:t>Gluten Free pasta category grew +40% in 2020 </a:t>
            </a:r>
          </a:p>
          <a:p>
            <a:pPr marL="285750" indent="-285750" defTabSz="9144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ncient Harvest was one of the 1</a:t>
            </a:r>
            <a:r>
              <a:rPr kumimoji="0" lang="en-US" sz="1600" b="0" i="0" u="none" strike="noStrike" kern="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t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Gluten Free pastas in the US (1984)</a:t>
            </a:r>
          </a:p>
          <a:p>
            <a:pPr marL="285750" indent="-285750" defTabSz="9144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orn, brown rice &amp; quinoa blend</a:t>
            </a:r>
          </a:p>
          <a:p>
            <a:pPr marL="742950" lvl="1" indent="-285750" defTabSz="9144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prstClr val="black"/>
                </a:solidFill>
              </a:rPr>
              <a:t>New recipe delivers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uperior taste, texture &amp; cook timing vs. </a:t>
            </a:r>
            <a:r>
              <a:rPr lang="en-US" sz="1400" kern="0" dirty="0">
                <a:solidFill>
                  <a:prstClr val="black"/>
                </a:solidFill>
              </a:rPr>
              <a:t>other GF pasta option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285750" indent="-285750" defTabSz="9144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ertified USDA Organic</a:t>
            </a:r>
          </a:p>
          <a:p>
            <a:pPr marL="285750" indent="-285750" defTabSz="9144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solidFill>
                  <a:prstClr val="black"/>
                </a:solidFill>
              </a:rPr>
              <a:t>Certified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Gluten Free</a:t>
            </a:r>
          </a:p>
          <a:p>
            <a:pPr marL="285750" indent="-285750" defTabSz="9144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Non-GMO Project Verified</a:t>
            </a:r>
            <a:endParaRPr lang="en-US" sz="1600" kern="0" dirty="0">
              <a:solidFill>
                <a:prstClr val="black"/>
              </a:solidFill>
            </a:endParaRPr>
          </a:p>
          <a:p>
            <a:pPr marL="285750" indent="-285750" defTabSz="9144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solidFill>
                  <a:prstClr val="black"/>
                </a:solidFill>
              </a:rPr>
              <a:t>Kosher</a:t>
            </a: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tabLst/>
              <a:defRPr/>
            </a:pPr>
            <a:endParaRPr kumimoji="0" lang="en-US" sz="1600" b="1" i="0" u="sng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tabLst/>
              <a:defRPr/>
            </a:pPr>
            <a:r>
              <a:rPr kumimoji="0" lang="en-US" sz="16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roduct Details: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Varieties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>
                <a:effectLst/>
                <a:ea typeface="Times New Roman" panose="02020603050405020304" pitchFamily="18" charset="0"/>
              </a:rPr>
              <a:t>Rotini – one of our top selling forms</a:t>
            </a:r>
          </a:p>
          <a:p>
            <a:pPr marL="342900" indent="-342900" defTabSz="914400"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Published Cost: $1.75 per unit FOB (pick-up)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kern="0" dirty="0">
                <a:solidFill>
                  <a:prstClr val="black"/>
                </a:solidFill>
              </a:rPr>
              <a:t>8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oz boxes / 12 count cas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C91B8EF-A699-4171-9F2E-54D878B608AA}"/>
              </a:ext>
            </a:extLst>
          </p:cNvPr>
          <p:cNvCxnSpPr>
            <a:cxnSpLocks/>
          </p:cNvCxnSpPr>
          <p:nvPr/>
        </p:nvCxnSpPr>
        <p:spPr>
          <a:xfrm>
            <a:off x="394242" y="1080329"/>
            <a:ext cx="8244904" cy="0"/>
          </a:xfrm>
          <a:prstGeom prst="line">
            <a:avLst/>
          </a:prstGeom>
          <a:ln w="38100" cmpd="sng">
            <a:solidFill>
              <a:srgbClr val="2EB18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certs.png">
            <a:extLst>
              <a:ext uri="{FF2B5EF4-FFF2-40B4-BE49-F238E27FC236}">
                <a16:creationId xmlns:a16="http://schemas.microsoft.com/office/drawing/2014/main" id="{48623281-82D8-4A56-8B53-3D395FCB3D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6071" y="6284654"/>
            <a:ext cx="2204544" cy="48059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466C39D-C871-47B3-8DFE-98C03EC699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55417" y="1171126"/>
            <a:ext cx="3392571" cy="5035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3223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52092FC-1454-46BD-8BA2-27F859496DC2}"/>
              </a:ext>
            </a:extLst>
          </p:cNvPr>
          <p:cNvSpPr/>
          <p:nvPr/>
        </p:nvSpPr>
        <p:spPr>
          <a:xfrm>
            <a:off x="7353300" y="5381625"/>
            <a:ext cx="1790700" cy="147637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00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88501" y="254689"/>
            <a:ext cx="5962650" cy="471488"/>
          </a:xfrm>
        </p:spPr>
        <p:txBody>
          <a:bodyPr>
            <a:noAutofit/>
          </a:bodyPr>
          <a:lstStyle/>
          <a:p>
            <a:pPr algn="l"/>
            <a:r>
              <a:rPr lang="en-US" sz="3600" b="1" dirty="0">
                <a:solidFill>
                  <a:srgbClr val="2EB18E"/>
                </a:solidFill>
                <a:latin typeface="+mn-lt"/>
              </a:rPr>
              <a:t>Pamela’s – Who We Are…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4294967295"/>
          </p:nvPr>
        </p:nvSpPr>
        <p:spPr>
          <a:xfrm>
            <a:off x="288501" y="1137797"/>
            <a:ext cx="6607175" cy="5465507"/>
          </a:xfrm>
        </p:spPr>
        <p:txBody>
          <a:bodyPr vert="horz" lIns="91440" tIns="45720" rIns="91440" bIns="45720" rtlCol="0" anchor="t">
            <a:normAutofit fontScale="92500" lnSpcReduction="20000"/>
          </a:bodyPr>
          <a:lstStyle/>
          <a:p>
            <a:pPr>
              <a:buClrTx/>
              <a:buFont typeface="Arial" panose="020B0604020202020204" pitchFamily="34" charset="0"/>
              <a:buChar char="•"/>
            </a:pPr>
            <a:r>
              <a:rPr lang="EN-US" sz="1800" b="0" dirty="0"/>
              <a:t>In 1988, </a:t>
            </a:r>
            <a:r>
              <a:rPr lang="en-US" sz="1800" b="0" dirty="0"/>
              <a:t>Pamela (a 3</a:t>
            </a:r>
            <a:r>
              <a:rPr lang="en-US" sz="1800" b="0" baseline="30000" dirty="0"/>
              <a:t>rd</a:t>
            </a:r>
            <a:r>
              <a:rPr lang="en-US" sz="1800" b="0" dirty="0"/>
              <a:t> generation baker)</a:t>
            </a:r>
            <a:r>
              <a:rPr lang="EN-US" sz="1800" b="0" dirty="0"/>
              <a:t> took her knowledge of the natural and gluten-free consumer to create Pamela’s Products</a:t>
            </a:r>
            <a:r>
              <a:rPr lang="en-US" sz="1800" b="0" dirty="0"/>
              <a:t>.  For 30+ years the brand has focused on delivering delicious, alternative ingredient foods to a fiercely loyal and growing consumer base.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endParaRPr lang="en-US" sz="1800" b="0" dirty="0"/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sz="1800" b="0" dirty="0"/>
              <a:t>In January 2020, Pamela’s Products was purchased by Ancient Harvest, joining 2 of the great heritage natural &amp; gluten-free brands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endParaRPr lang="en-US" sz="1800" b="0" dirty="0"/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sz="1800" b="0" dirty="0"/>
              <a:t>Under new ownership, there is a strong commitment to invest and partner with key retailers to return this brand to growth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endParaRPr lang="en-US" sz="1800" b="0" dirty="0"/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sz="1800" b="1" u="sng" dirty="0"/>
              <a:t>Our mission</a:t>
            </a:r>
            <a:r>
              <a:rPr lang="en-US" sz="1800" b="1" dirty="0"/>
              <a:t>: </a:t>
            </a:r>
            <a:r>
              <a:rPr lang="en-US" sz="1800" b="0" dirty="0"/>
              <a:t>Live by the principles Pamela instilled in this brand to delight consumers with great-tasting products &amp; continue to innovate with alternative, premium ingredients to ensure everyone in the family can enjoy our products - no matter their dietary preference or need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endParaRPr lang="EN-US" sz="1800" b="0" dirty="0"/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sz="1800" dirty="0"/>
              <a:t>What continues to make us different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500" dirty="0"/>
              <a:t>  Trusted natural brand with 30+ year track record of delicious produc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500" dirty="0"/>
              <a:t>  Innovative recipes that allow consumers to avoid certain ingredients while</a:t>
            </a:r>
          </a:p>
          <a:p>
            <a:pPr marL="457200" lvl="1" indent="0">
              <a:buNone/>
            </a:pPr>
            <a:r>
              <a:rPr lang="en-US" sz="1500" dirty="0"/>
              <a:t>         not compromising on taste or qualit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500" dirty="0"/>
              <a:t>  Always Certified Gluten-Fre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500" dirty="0"/>
              <a:t>  Prioritizing organic, whole grain &amp; Non-GMO ingredient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US" sz="1600" b="0" dirty="0"/>
          </a:p>
          <a:p>
            <a:pPr>
              <a:buClrTx/>
              <a:buFont typeface="Arial" panose="020B0604020202020204" pitchFamily="34" charset="0"/>
              <a:buChar char="•"/>
            </a:pPr>
            <a:endParaRPr lang="en-US" sz="1800" b="0" dirty="0"/>
          </a:p>
          <a:p>
            <a:pPr>
              <a:buClrTx/>
              <a:buFont typeface="Arial" panose="020B0604020202020204" pitchFamily="34" charset="0"/>
              <a:buChar char="•"/>
            </a:pPr>
            <a:endParaRPr lang="en-US" sz="1800" b="0" dirty="0"/>
          </a:p>
          <a:p>
            <a:pPr>
              <a:buClrTx/>
              <a:buFont typeface="Arial" panose="020B0604020202020204" pitchFamily="34" charset="0"/>
              <a:buChar char="•"/>
            </a:pPr>
            <a:endParaRPr lang="en-US" sz="1800" b="0" dirty="0"/>
          </a:p>
          <a:p>
            <a:pPr>
              <a:buClrTx/>
              <a:buFont typeface="Arial" panose="020B0604020202020204" pitchFamily="34" charset="0"/>
              <a:buChar char="•"/>
            </a:pPr>
            <a:endParaRPr lang="en-US" sz="1800" b="0" dirty="0"/>
          </a:p>
          <a:p>
            <a:pPr>
              <a:buClrTx/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pic>
        <p:nvPicPr>
          <p:cNvPr id="11" name="Picture 2" descr="golden crescent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65912" y="3429000"/>
            <a:ext cx="1489587" cy="1766243"/>
          </a:xfrm>
          <a:prstGeom prst="rect">
            <a:avLst/>
          </a:prstGeom>
          <a:noFill/>
          <a:ln w="25400" cmpd="sng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5911" y="1186719"/>
            <a:ext cx="1489587" cy="2135112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80AD96B-EFC3-42A9-ADEE-FC6FCEC4D9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94231" y="5364124"/>
            <a:ext cx="1168991" cy="1168991"/>
          </a:xfrm>
          <a:prstGeom prst="rect">
            <a:avLst/>
          </a:prstGeom>
        </p:spPr>
      </p:pic>
      <p:pic>
        <p:nvPicPr>
          <p:cNvPr id="1026" name="Picture 2" descr="Home page">
            <a:extLst>
              <a:ext uri="{FF2B5EF4-FFF2-40B4-BE49-F238E27FC236}">
                <a16:creationId xmlns:a16="http://schemas.microsoft.com/office/drawing/2014/main" id="{5795B020-2382-43AD-9952-5FFB433FC6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1655" y="188331"/>
            <a:ext cx="1421567" cy="660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F0373CC-9875-49CE-A7A1-9FA2C13C02E4}"/>
              </a:ext>
            </a:extLst>
          </p:cNvPr>
          <p:cNvCxnSpPr>
            <a:cxnSpLocks/>
          </p:cNvCxnSpPr>
          <p:nvPr/>
        </p:nvCxnSpPr>
        <p:spPr>
          <a:xfrm>
            <a:off x="394242" y="931987"/>
            <a:ext cx="8244904" cy="0"/>
          </a:xfrm>
          <a:prstGeom prst="line">
            <a:avLst/>
          </a:prstGeom>
          <a:ln w="38100" cmpd="sng">
            <a:solidFill>
              <a:srgbClr val="2EB18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67032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>
            <a:extLst>
              <a:ext uri="{FF2B5EF4-FFF2-40B4-BE49-F238E27FC236}">
                <a16:creationId xmlns:a16="http://schemas.microsoft.com/office/drawing/2014/main" id="{979EF426-D765-46D5-8B58-5BCE2CFEF292}"/>
              </a:ext>
            </a:extLst>
          </p:cNvPr>
          <p:cNvSpPr/>
          <p:nvPr/>
        </p:nvSpPr>
        <p:spPr>
          <a:xfrm>
            <a:off x="99056" y="180079"/>
            <a:ext cx="8676445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Tx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2EB18E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amela’s Product Portfolio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2EB18E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62C37BE-0D2A-4D0C-B3FC-95F6D7E796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72" y="1034766"/>
            <a:ext cx="9035055" cy="5724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9288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half" idx="2"/>
          </p:nvPr>
        </p:nvSpPr>
        <p:spPr>
          <a:xfrm>
            <a:off x="394242" y="973790"/>
            <a:ext cx="4530097" cy="5381986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ClrTx/>
              <a:buNone/>
            </a:pPr>
            <a:r>
              <a:rPr lang="en-US" sz="2000" u="sng" dirty="0"/>
              <a:t>Benefits</a:t>
            </a:r>
            <a:r>
              <a:rPr lang="en-US" sz="2000" b="0" dirty="0"/>
              <a:t>: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sz="1800" b="0" dirty="0"/>
              <a:t>Gluten Free Certified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sz="1800" b="0" dirty="0"/>
              <a:t>Whole Grains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sz="1800" b="0" dirty="0"/>
              <a:t>No Added Sugar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sz="1800" b="0" dirty="0"/>
              <a:t>Made with Almond Meal </a:t>
            </a:r>
          </a:p>
          <a:p>
            <a:pPr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Good source of plant-based protein                                    (4g / serving)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sz="1800" b="0" dirty="0"/>
              <a:t>No Artificial Colors or Preservatives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sz="1800" b="0" dirty="0"/>
              <a:t>Multi-Use Baking Occasions </a:t>
            </a:r>
          </a:p>
          <a:p>
            <a:pPr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C</a:t>
            </a:r>
            <a:r>
              <a:rPr lang="en-US" sz="1600" b="0" dirty="0"/>
              <a:t>ookies, breads, pancakes, waffles, donuts, and more! 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endParaRPr lang="en-US" sz="2000" b="0" dirty="0"/>
          </a:p>
          <a:p>
            <a:pPr marL="0" indent="0">
              <a:buClrTx/>
              <a:buNone/>
            </a:pPr>
            <a:r>
              <a:rPr lang="en-US" sz="2000" u="sng" dirty="0"/>
              <a:t>Product Details</a:t>
            </a:r>
            <a:r>
              <a:rPr lang="en-US" sz="2000" b="0" dirty="0"/>
              <a:t>: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sz="1800" b="0" dirty="0"/>
              <a:t>64 oz (4.0lb)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sz="1800" b="0" dirty="0"/>
              <a:t>$8.26 / unit FOB (pick-up)</a:t>
            </a:r>
            <a:r>
              <a:rPr lang="en-US" sz="1800" dirty="0"/>
              <a:t> </a:t>
            </a:r>
          </a:p>
          <a:p>
            <a:pPr>
              <a:buClrTx/>
              <a:buFont typeface="Arial" panose="020B0604020202020204" pitchFamily="34" charset="0"/>
              <a:buChar char="•"/>
            </a:pPr>
            <a:r>
              <a:rPr lang="en-US" sz="1800" b="0" dirty="0"/>
              <a:t>3 units / cas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F1D00-BD13-4404-86B0-79703945A0A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E529C72D-DBB1-4030-81B8-411A9A8EC6F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2571" y="940128"/>
            <a:ext cx="3595958" cy="4706432"/>
          </a:xfrm>
          <a:prstGeom prst="rect">
            <a:avLst/>
          </a:prstGeom>
        </p:spPr>
      </p:pic>
      <p:pic>
        <p:nvPicPr>
          <p:cNvPr id="18" name="Picture 17" descr="A piece of cake on a plate&#10;&#10;Description automatically generated">
            <a:extLst>
              <a:ext uri="{FF2B5EF4-FFF2-40B4-BE49-F238E27FC236}">
                <a16:creationId xmlns:a16="http://schemas.microsoft.com/office/drawing/2014/main" id="{4E62D787-5B77-4807-950C-45A7F87C812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565" b="1759"/>
          <a:stretch/>
        </p:blipFill>
        <p:spPr>
          <a:xfrm>
            <a:off x="5035258" y="5646560"/>
            <a:ext cx="1232280" cy="1176987"/>
          </a:xfrm>
          <a:prstGeom prst="rect">
            <a:avLst/>
          </a:prstGeom>
        </p:spPr>
      </p:pic>
      <p:pic>
        <p:nvPicPr>
          <p:cNvPr id="26" name="Picture 25" descr="A chocolate covered donut&#10;&#10;Description automatically generated">
            <a:extLst>
              <a:ext uri="{FF2B5EF4-FFF2-40B4-BE49-F238E27FC236}">
                <a16:creationId xmlns:a16="http://schemas.microsoft.com/office/drawing/2014/main" id="{843B6D41-5A06-4959-BADC-22A9787531E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32" r="9739"/>
          <a:stretch/>
        </p:blipFill>
        <p:spPr>
          <a:xfrm>
            <a:off x="6349333" y="5638099"/>
            <a:ext cx="1287930" cy="1182723"/>
          </a:xfrm>
          <a:prstGeom prst="rect">
            <a:avLst/>
          </a:prstGeom>
        </p:spPr>
      </p:pic>
      <p:pic>
        <p:nvPicPr>
          <p:cNvPr id="27" name="Picture 26" descr="A tray of food on a plate&#10;&#10;Description automatically generated">
            <a:extLst>
              <a:ext uri="{FF2B5EF4-FFF2-40B4-BE49-F238E27FC236}">
                <a16:creationId xmlns:a16="http://schemas.microsoft.com/office/drawing/2014/main" id="{55E29184-EAA2-4BCC-92BF-C52EDEF550A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70" t="9221" r="-1" b="13593"/>
          <a:stretch/>
        </p:blipFill>
        <p:spPr>
          <a:xfrm>
            <a:off x="7724963" y="5638099"/>
            <a:ext cx="1287930" cy="1176987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E415A306-18F7-49D0-869B-FF88F076E6CE}"/>
              </a:ext>
            </a:extLst>
          </p:cNvPr>
          <p:cNvSpPr txBox="1">
            <a:spLocks/>
          </p:cNvSpPr>
          <p:nvPr/>
        </p:nvSpPr>
        <p:spPr>
          <a:xfrm>
            <a:off x="288500" y="254689"/>
            <a:ext cx="6559339" cy="471488"/>
          </a:xfrm>
        </p:spPr>
        <p:txBody>
          <a:bodyPr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b="1" dirty="0">
                <a:solidFill>
                  <a:srgbClr val="2EB18E"/>
                </a:solidFill>
                <a:latin typeface="+mn-lt"/>
              </a:rPr>
              <a:t>Pamela’s Baking &amp; Pancake Mix</a:t>
            </a:r>
          </a:p>
        </p:txBody>
      </p:sp>
      <p:pic>
        <p:nvPicPr>
          <p:cNvPr id="20" name="Picture 2" descr="Home page">
            <a:extLst>
              <a:ext uri="{FF2B5EF4-FFF2-40B4-BE49-F238E27FC236}">
                <a16:creationId xmlns:a16="http://schemas.microsoft.com/office/drawing/2014/main" id="{E46C698D-C214-49CE-8E77-D2940D116B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1655" y="188331"/>
            <a:ext cx="1421567" cy="660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6858EFA-65E4-4F0C-961F-7E5F86619ADB}"/>
              </a:ext>
            </a:extLst>
          </p:cNvPr>
          <p:cNvCxnSpPr>
            <a:cxnSpLocks/>
          </p:cNvCxnSpPr>
          <p:nvPr/>
        </p:nvCxnSpPr>
        <p:spPr>
          <a:xfrm>
            <a:off x="394242" y="931987"/>
            <a:ext cx="8244904" cy="0"/>
          </a:xfrm>
          <a:prstGeom prst="line">
            <a:avLst/>
          </a:prstGeom>
          <a:ln w="38100" cmpd="sng">
            <a:solidFill>
              <a:srgbClr val="2EB18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9053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7_Office Theme">
  <a:themeElements>
    <a:clrScheme name="CAPRE COLORS">
      <a:dk1>
        <a:srgbClr val="000000"/>
      </a:dk1>
      <a:lt1>
        <a:sysClr val="window" lastClr="FFFFFF"/>
      </a:lt1>
      <a:dk2>
        <a:srgbClr val="072C44"/>
      </a:dk2>
      <a:lt2>
        <a:srgbClr val="EEECE1"/>
      </a:lt2>
      <a:accent1>
        <a:srgbClr val="074163"/>
      </a:accent1>
      <a:accent2>
        <a:srgbClr val="EA7925"/>
      </a:accent2>
      <a:accent3>
        <a:srgbClr val="FFC010"/>
      </a:accent3>
      <a:accent4>
        <a:srgbClr val="116FAD"/>
      </a:accent4>
      <a:accent5>
        <a:srgbClr val="B2401A"/>
      </a:accent5>
      <a:accent6>
        <a:srgbClr val="F9B262"/>
      </a:accent6>
      <a:hlink>
        <a:srgbClr val="116FAD"/>
      </a:hlink>
      <a:folHlink>
        <a:srgbClr val="0E5686"/>
      </a:folHlink>
    </a:clrScheme>
    <a:fontScheme name="Capre Fonts">
      <a:majorFont>
        <a:latin typeface="Arial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55</TotalTime>
  <Words>873</Words>
  <Application>Microsoft Office PowerPoint</Application>
  <PresentationFormat>On-screen Show (4:3)</PresentationFormat>
  <Paragraphs>136</Paragraphs>
  <Slides>1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1</vt:i4>
      </vt:variant>
    </vt:vector>
  </HeadingPairs>
  <TitlesOfParts>
    <vt:vector size="23" baseType="lpstr">
      <vt:lpstr>Arial</vt:lpstr>
      <vt:lpstr>Cabin</vt:lpstr>
      <vt:lpstr>Calibri</vt:lpstr>
      <vt:lpstr>Gill Sans</vt:lpstr>
      <vt:lpstr>Verdana</vt:lpstr>
      <vt:lpstr>Wingdings</vt:lpstr>
      <vt:lpstr>Custom Design</vt:lpstr>
      <vt:lpstr>1_Custom Design</vt:lpstr>
      <vt:lpstr>7_Office Theme</vt:lpstr>
      <vt:lpstr>1_Office Theme</vt:lpstr>
      <vt:lpstr>Worksheet</vt:lpstr>
      <vt:lpstr>think-cell Slide</vt:lpstr>
      <vt:lpstr>PowerPoint Presentation</vt:lpstr>
      <vt:lpstr>PowerPoint Presentation</vt:lpstr>
      <vt:lpstr>PowerPoint Presentation</vt:lpstr>
      <vt:lpstr>Ancient Harvest Quinoa</vt:lpstr>
      <vt:lpstr>Ancient Harvest Quinoa Let The #1 Brand Drive Your Category Growth!</vt:lpstr>
      <vt:lpstr>Ancient Harvest Organic Gluten Free Pasta</vt:lpstr>
      <vt:lpstr>Pamela’s – Who We Are…</vt:lpstr>
      <vt:lpstr>PowerPoint Presentation</vt:lpstr>
      <vt:lpstr>PowerPoint Presentation</vt:lpstr>
      <vt:lpstr>PowerPoint Presentation</vt:lpstr>
      <vt:lpstr>PowerPoint Presentation</vt:lpstr>
    </vt:vector>
  </TitlesOfParts>
  <Company>Sterling Rice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icia</dc:creator>
  <cp:lastModifiedBy>Chris Murphy</cp:lastModifiedBy>
  <cp:revision>258</cp:revision>
  <dcterms:created xsi:type="dcterms:W3CDTF">2019-07-16T11:17:27Z</dcterms:created>
  <dcterms:modified xsi:type="dcterms:W3CDTF">2021-08-05T20:36:21Z</dcterms:modified>
</cp:coreProperties>
</file>